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svg" ContentType="image/svg+xml"/>
  <Default Extension="emf" ContentType="image/x-emf"/>
  <Default Extension="jpeg" ContentType="image/jpeg"/>
  <Default Extension="mov" ContentType="video/quicktime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1.xml" ContentType="application/vnd.openxmlformats-officedocument.presentationml.tags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slideLayouts/slideLayout18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ags/tag15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  <p:sldMasterId id="2147483652" r:id="rId2"/>
    <p:sldMasterId id="2147483666" r:id="rId3"/>
  </p:sldMasterIdLst>
  <p:notesMasterIdLst>
    <p:notesMasterId r:id="rId19"/>
  </p:notesMasterIdLst>
  <p:sldIdLst>
    <p:sldId id="276" r:id="rId4"/>
    <p:sldId id="270" r:id="rId5"/>
    <p:sldId id="257" r:id="rId6"/>
    <p:sldId id="267" r:id="rId7"/>
    <p:sldId id="258" r:id="rId8"/>
    <p:sldId id="260" r:id="rId9"/>
    <p:sldId id="262" r:id="rId10"/>
    <p:sldId id="272" r:id="rId11"/>
    <p:sldId id="273" r:id="rId12"/>
    <p:sldId id="264" r:id="rId13"/>
    <p:sldId id="274" r:id="rId14"/>
    <p:sldId id="275" r:id="rId15"/>
    <p:sldId id="269" r:id="rId16"/>
    <p:sldId id="268" r:id="rId17"/>
    <p:sldId id="271" r:id="rId18"/>
  </p:sldIdLst>
  <p:sldSz cx="12192000" cy="6858000"/>
  <p:notesSz cx="6858000" cy="9144000"/>
  <p:defaultTextStyle>
    <a:defPPr>
      <a:defRPr lang="ru-RU"/>
    </a:defPPr>
    <a:lvl1pPr marL="0" algn="l" defTabSz="967318">
      <a:defRPr sz="1900">
        <a:solidFill>
          <a:schemeClr val="tx1"/>
        </a:solidFill>
        <a:latin typeface="+mn-lt"/>
        <a:ea typeface="+mn-ea"/>
        <a:cs typeface="+mn-cs"/>
      </a:defRPr>
    </a:lvl1pPr>
    <a:lvl2pPr marL="483660" algn="l" defTabSz="967318">
      <a:defRPr sz="1900">
        <a:solidFill>
          <a:schemeClr val="tx1"/>
        </a:solidFill>
        <a:latin typeface="+mn-lt"/>
        <a:ea typeface="+mn-ea"/>
        <a:cs typeface="+mn-cs"/>
      </a:defRPr>
    </a:lvl2pPr>
    <a:lvl3pPr marL="967318" algn="l" defTabSz="967318">
      <a:defRPr sz="1900">
        <a:solidFill>
          <a:schemeClr val="tx1"/>
        </a:solidFill>
        <a:latin typeface="+mn-lt"/>
        <a:ea typeface="+mn-ea"/>
        <a:cs typeface="+mn-cs"/>
      </a:defRPr>
    </a:lvl3pPr>
    <a:lvl4pPr marL="1450978" algn="l" defTabSz="967318">
      <a:defRPr sz="1900">
        <a:solidFill>
          <a:schemeClr val="tx1"/>
        </a:solidFill>
        <a:latin typeface="+mn-lt"/>
        <a:ea typeface="+mn-ea"/>
        <a:cs typeface="+mn-cs"/>
      </a:defRPr>
    </a:lvl4pPr>
    <a:lvl5pPr marL="1934638" algn="l" defTabSz="967318">
      <a:defRPr sz="1900">
        <a:solidFill>
          <a:schemeClr val="tx1"/>
        </a:solidFill>
        <a:latin typeface="+mn-lt"/>
        <a:ea typeface="+mn-ea"/>
        <a:cs typeface="+mn-cs"/>
      </a:defRPr>
    </a:lvl5pPr>
    <a:lvl6pPr marL="2418298" algn="l" defTabSz="967318">
      <a:defRPr sz="1900">
        <a:solidFill>
          <a:schemeClr val="tx1"/>
        </a:solidFill>
        <a:latin typeface="+mn-lt"/>
        <a:ea typeface="+mn-ea"/>
        <a:cs typeface="+mn-cs"/>
      </a:defRPr>
    </a:lvl6pPr>
    <a:lvl7pPr marL="2901958" algn="l" defTabSz="967318">
      <a:defRPr sz="1900">
        <a:solidFill>
          <a:schemeClr val="tx1"/>
        </a:solidFill>
        <a:latin typeface="+mn-lt"/>
        <a:ea typeface="+mn-ea"/>
        <a:cs typeface="+mn-cs"/>
      </a:defRPr>
    </a:lvl7pPr>
    <a:lvl8pPr marL="3385618" algn="l" defTabSz="967318">
      <a:defRPr sz="1900">
        <a:solidFill>
          <a:schemeClr val="tx1"/>
        </a:solidFill>
        <a:latin typeface="+mn-lt"/>
        <a:ea typeface="+mn-ea"/>
        <a:cs typeface="+mn-cs"/>
      </a:defRPr>
    </a:lvl8pPr>
    <a:lvl9pPr marL="3869277" algn="l" defTabSz="967318">
      <a:defRPr sz="19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911">
          <p15:clr>
            <a:srgbClr val="A4A3A4"/>
          </p15:clr>
        </p15:guide>
        <p15:guide id="2" orient="horz" pos="3514">
          <p15:clr>
            <a:srgbClr val="A4A3A4"/>
          </p15:clr>
        </p15:guide>
        <p15:guide id="3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129" autoAdjust="0"/>
    <p:restoredTop sz="95332" autoAdjust="0"/>
  </p:normalViewPr>
  <p:slideViewPr>
    <p:cSldViewPr snapToGrid="0" snapToObjects="1">
      <p:cViewPr>
        <p:scale>
          <a:sx n="66" d="100"/>
          <a:sy n="66" d="100"/>
        </p:scale>
        <p:origin x="1507" y="442"/>
      </p:cViewPr>
      <p:guideLst>
        <p:guide orient="horz" pos="1911"/>
        <p:guide orient="horz" pos="3514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3" Type="http://schemas.openxmlformats.org/officeDocument/2006/relationships/slideMaster" Target="slideMasters/slideMaster3.xml"/><Relationship Id="rId21" Type="http://schemas.openxmlformats.org/officeDocument/2006/relationships/viewProps" Target="viewProps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tableStyles" Target="tableStyles.xml"/><Relationship Id="rId10" Type="http://schemas.openxmlformats.org/officeDocument/2006/relationships/slide" Target="slides/slide7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592681777" name="Header Placeholder 1"/>
          <p:cNvSpPr>
            <a:spLocks noGrp="1"/>
          </p:cNvSpPr>
          <p:nvPr>
            <p:ph type="hdr" sz="quarter"/>
          </p:nvPr>
        </p:nvSpPr>
        <p:spPr bwMode="auto"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/>
            </a:lvl1pPr>
          </a:lstStyle>
          <a:p>
            <a:pPr>
              <a:defRPr/>
            </a:pPr>
            <a:endParaRPr/>
          </a:p>
        </p:txBody>
      </p:sp>
      <p:sp>
        <p:nvSpPr>
          <p:cNvPr id="311695172" name="Date Placeholder 2"/>
          <p:cNvSpPr>
            <a:spLocks noGrp="1"/>
          </p:cNvSpPr>
          <p:nvPr>
            <p:ph type="dt" idx="2"/>
          </p:nvPr>
        </p:nvSpPr>
        <p:spPr bwMode="auto"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/>
            </a:lvl1pPr>
          </a:lstStyle>
          <a:p>
            <a:pPr>
              <a:defRPr/>
            </a:pPr>
            <a:endParaRPr/>
          </a:p>
        </p:txBody>
      </p:sp>
      <p:sp>
        <p:nvSpPr>
          <p:cNvPr id="336744447" name="Date Placeholder 2"/>
          <p:cNvSpPr>
            <a:spLocks noGrp="1"/>
          </p:cNvSpPr>
          <p:nvPr>
            <p:ph type="dt" idx="3"/>
          </p:nvPr>
        </p:nvSpPr>
        <p:spPr bwMode="auto"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/>
            </a:lvl1pPr>
          </a:lstStyle>
          <a:p>
            <a:pPr>
              <a:defRPr/>
            </a:pPr>
            <a:endParaRPr/>
          </a:p>
        </p:txBody>
      </p:sp>
      <p:sp>
        <p:nvSpPr>
          <p:cNvPr id="1223332307" name="Notes Placeholder 4"/>
          <p:cNvSpPr>
            <a:spLocks noGrp="1"/>
          </p:cNvSpPr>
          <p:nvPr>
            <p:ph type="body" sz="quarter" idx="1"/>
          </p:nvPr>
        </p:nvSpPr>
        <p:spPr bwMode="auto"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 anchor="ctr"/>
          <a:lstStyle/>
          <a:p>
            <a:pPr>
              <a:defRPr/>
            </a:pPr>
            <a:endParaRPr/>
          </a:p>
        </p:txBody>
      </p:sp>
      <p:sp>
        <p:nvSpPr>
          <p:cNvPr id="1168853902" name="Footer Placeholder 5"/>
          <p:cNvSpPr>
            <a:spLocks noGrp="1"/>
          </p:cNvSpPr>
          <p:nvPr>
            <p:ph type="ftr" sz="quarter" idx="4"/>
          </p:nvPr>
        </p:nvSpPr>
        <p:spPr bwMode="auto"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pPr>
              <a:defRPr/>
            </a:pPr>
            <a:endParaRPr/>
          </a:p>
        </p:txBody>
      </p:sp>
      <p:sp>
        <p:nvSpPr>
          <p:cNvPr id="697641808" name="Slide Number Placeholder 6"/>
          <p:cNvSpPr>
            <a:spLocks noGrp="1"/>
          </p:cNvSpPr>
          <p:nvPr>
            <p:ph type="sldNum" sz="quarter" idx="10"/>
          </p:nvPr>
        </p:nvSpPr>
        <p:spPr bwMode="auto"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pPr>
              <a:defRPr/>
            </a:pPr>
            <a:endParaRPr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>
      <a:defRPr sz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>
      <a:defRPr sz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>
      <a:defRPr sz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>
      <a:defRPr sz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>
      <a:defRPr sz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>
      <a:defRPr sz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>
      <a:defRPr sz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>
      <a:defRPr sz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>
      <a:defRPr sz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7021451-1387-4CA6-816F-3879F97B5CBC}" type="slidenum"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005304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D21F1CD9-936B-EB21-0FBB-107D6C1C7BCA}" type="slidenum">
              <a:rPr/>
              <a:t>13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47099712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r>
              <a:rPr lang="ru-RU" sz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Можно ли доехать из Москвы до Владивостока на лошади? Можно. Люди делали это веками. Но если рядом кто-то едет на поезде — вы не конкурируете. Вы путешествуете. </a:t>
            </a:r>
          </a:p>
          <a:p>
            <a:r>
              <a:rPr lang="ru-RU" sz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Проводная связь, ручная аналитика, классическая автоматизация — это хорошая лошадь. Она довезёт. Но 5G + AI + </a:t>
            </a:r>
            <a:r>
              <a:rPr lang="ru-RU" sz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obotics</a:t>
            </a:r>
            <a:r>
              <a:rPr lang="ru-RU" sz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— это поезд. И он уже отходит от станции.</a:t>
            </a:r>
          </a:p>
          <a:p>
            <a:pPr>
              <a:defRPr/>
            </a:pPr>
            <a:endParaRPr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D21F1CD9-936B-EB21-0FBB-107D6C1C7BCA}" type="slidenum">
              <a:rPr/>
              <a:t>14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08271045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021451-1387-4CA6-816F-3879F97B5CBC}" type="slidenum">
              <a:rPr lang="en-US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052865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7021451-1387-4CA6-816F-3879F97B5CBC}" type="slidenum"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  <a:sym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6895186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44B693A7-589F-D1A6-36BD-129BCAE14CC9}" type="slidenum">
              <a:rPr/>
              <a:t>3</a:t>
            </a:fld>
            <a:endParaRPr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44B693A7-589F-D1A6-36BD-129BCAE14CC9}" type="slidenum">
              <a:rPr/>
              <a:t>4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43841879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2D09B93D-792C-C893-F7C7-601253B57FEA}" type="slidenum">
              <a:rPr/>
              <a:t>5</a:t>
            </a:fld>
            <a:endParaRPr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1BB8C2A3-659F-4069-3032-9262796ED41A}" type="slidenum">
              <a:rPr/>
              <a:t>6</a:t>
            </a:fld>
            <a:endParaRPr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 marL="457200" indent="-228600">
              <a:buChar char="•"/>
              <a:defRPr/>
            </a:pPr>
            <a:r>
              <a:rPr lang="ru-RU" dirty="0" smtClean="0"/>
              <a:t>В </a:t>
            </a:r>
            <a:r>
              <a:rPr lang="ru-RU" dirty="0" err="1" smtClean="0"/>
              <a:t>телекоме</a:t>
            </a:r>
            <a:r>
              <a:rPr lang="ru-RU" dirty="0" smtClean="0"/>
              <a:t> сеть сама предсказывает сбой и перераспределяет нагрузку до жалобы клиента.</a:t>
            </a:r>
          </a:p>
          <a:p>
            <a:pPr marL="457200" indent="-228600">
              <a:buChar char="•"/>
              <a:defRPr/>
            </a:pPr>
            <a:r>
              <a:rPr lang="ru-RU" dirty="0" smtClean="0"/>
              <a:t>В энергетике ИИ балансирует сеть в реальном времени, а роботы обслуживают инфраструктуру.</a:t>
            </a:r>
          </a:p>
          <a:p>
            <a:pPr marL="457200" indent="-228600">
              <a:buChar char="•"/>
              <a:defRPr/>
            </a:pPr>
            <a:r>
              <a:rPr lang="ru-RU" dirty="0" smtClean="0"/>
              <a:t>В ритейле полка сама заказывает товар, отправляя сигнал от кассы до завода.</a:t>
            </a:r>
          </a:p>
          <a:p>
            <a:pPr marL="457200" indent="-228600">
              <a:buChar char="•"/>
              <a:defRPr/>
            </a:pPr>
            <a:r>
              <a:rPr lang="ru-RU" dirty="0" smtClean="0"/>
              <a:t>В строительстве </a:t>
            </a:r>
            <a:r>
              <a:rPr lang="ru-RU" dirty="0" err="1" smtClean="0"/>
              <a:t>дроны</a:t>
            </a:r>
            <a:r>
              <a:rPr lang="ru-RU" dirty="0" smtClean="0"/>
              <a:t> </a:t>
            </a:r>
            <a:r>
              <a:rPr lang="ru-RU" dirty="0" err="1" smtClean="0"/>
              <a:t>мониторят</a:t>
            </a:r>
            <a:r>
              <a:rPr lang="ru-RU" dirty="0" smtClean="0"/>
              <a:t> площадку, а ИИ корректирует график по цифровой модели.</a:t>
            </a:r>
          </a:p>
          <a:p>
            <a:pPr marL="457200" indent="-228600">
              <a:buChar char="•"/>
              <a:defRPr/>
            </a:pPr>
            <a:r>
              <a:rPr lang="ru-RU" dirty="0" smtClean="0"/>
              <a:t>Принцип замкнутого цикла универсален и работает независимо от специфики отрасли.</a:t>
            </a:r>
          </a:p>
          <a:p>
            <a:pPr>
              <a:defRPr/>
            </a:pPr>
            <a:endParaRPr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2A0405E5-26C8-0819-C51A-B366D581FF8D}" type="slidenum">
              <a:rPr/>
              <a:t>7</a:t>
            </a:fld>
            <a:endParaRPr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C3D40D4B-3547-D308-4C28-E7AF542724E9}" type="slidenum">
              <a:rPr/>
              <a:t>10</a:t>
            </a:fld>
            <a:endParaRPr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D21F1CD9-936B-EB21-0FBB-107D6C1C7BCA}" type="slidenum">
              <a:rPr/>
              <a:t>12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41928898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7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7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8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9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0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1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2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3.bin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5.bin"/><Relationship Id="rId4" Type="http://schemas.openxmlformats.org/officeDocument/2006/relationships/image" Target="../media/image6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6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Титульный слайд">
    <p:bg>
      <p:bgPr>
        <a:blipFill>
          <a:blip r:embed="rId2">
            <a:lum/>
          </a:blip>
          <a:stretch/>
        </a:blipFill>
        <a:effectLst/>
      </p:bgPr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55274375" name="Заголовок 1"/>
          <p:cNvSpPr>
            <a:spLocks noGrp="1"/>
          </p:cNvSpPr>
          <p:nvPr>
            <p:ph type="title" hasCustomPrompt="1"/>
          </p:nvPr>
        </p:nvSpPr>
        <p:spPr bwMode="auto">
          <a:xfrm>
            <a:off x="459361" y="329184"/>
            <a:ext cx="9657557" cy="1695090"/>
          </a:xfrm>
        </p:spPr>
        <p:txBody>
          <a:bodyPr wrap="square" anchor="t"/>
          <a:lstStyle>
            <a:lvl1pPr marL="0" indent="0" algn="l" defTabSz="914400">
              <a:lnSpc>
                <a:spcPct val="90000"/>
              </a:lnSpc>
              <a:spcBef>
                <a:spcPts val="0"/>
              </a:spcBef>
              <a:buNone/>
              <a:defRPr lang="ru-RU" sz="4000">
                <a:solidFill>
                  <a:srgbClr val="000000">
                    <a:alpha val="100000"/>
                  </a:srgbClr>
                </a:solidFill>
                <a:latin typeface="MTS Wide Medium"/>
                <a:ea typeface="MTS Wide Medium"/>
                <a:cs typeface="MTS Wide Medium"/>
              </a:defRPr>
            </a:lvl1pPr>
          </a:lstStyle>
          <a:p>
            <a:pPr>
              <a:defRPr/>
            </a:pPr>
            <a:r>
              <a:rPr lang="ru-RU"/>
              <a:t>НАЗВАНИЕ ПРЕЗЕНТАЦИИ </a:t>
            </a:r>
            <a:endParaRPr/>
          </a:p>
        </p:txBody>
      </p:sp>
      <p:sp>
        <p:nvSpPr>
          <p:cNvPr id="22181676" name="Текст 8"/>
          <p:cNvSpPr>
            <a:spLocks noGrp="1"/>
          </p:cNvSpPr>
          <p:nvPr>
            <p:ph type="body" sz="quarter" idx="10" hasCustomPrompt="1"/>
          </p:nvPr>
        </p:nvSpPr>
        <p:spPr bwMode="auto">
          <a:xfrm>
            <a:off x="458455" y="2502135"/>
            <a:ext cx="5853889" cy="1695090"/>
          </a:xfrm>
        </p:spPr>
        <p:txBody>
          <a:bodyPr lIns="0" rIns="0"/>
          <a:lstStyle>
            <a:lvl1pPr marL="0" indent="0" algn="l" defTabSz="2056817">
              <a:spcBef>
                <a:spcPts val="0"/>
              </a:spcBef>
              <a:buFont typeface="Arial"/>
              <a:buNone/>
              <a:defRPr lang="ru-RU" sz="1800">
                <a:solidFill>
                  <a:schemeClr val="bg1">
                    <a:lumMod val="50000"/>
                  </a:schemeClr>
                </a:solidFill>
                <a:latin typeface="+mn-lt"/>
                <a:ea typeface="MTS Text Medium"/>
                <a:cs typeface="+mn-cs"/>
              </a:defRPr>
            </a:lvl1pPr>
          </a:lstStyle>
          <a:p>
            <a:pPr marL="0" lvl="0" indent="0" algn="l" defTabSz="2056817">
              <a:spcBef>
                <a:spcPts val="0"/>
              </a:spcBef>
              <a:buFont typeface="Arial"/>
              <a:buNone/>
              <a:defRPr/>
            </a:pPr>
            <a:r>
              <a:rPr lang="ru-RU"/>
              <a:t>Дескриптор в 1-2 строки</a:t>
            </a:r>
            <a:endParaRPr/>
          </a:p>
        </p:txBody>
      </p:sp>
      <p:sp>
        <p:nvSpPr>
          <p:cNvPr id="2102477579" name="Текст 12"/>
          <p:cNvSpPr>
            <a:spLocks noGrp="1"/>
          </p:cNvSpPr>
          <p:nvPr>
            <p:ph type="body" sz="quarter" idx="12" hasCustomPrompt="1"/>
          </p:nvPr>
        </p:nvSpPr>
        <p:spPr bwMode="auto">
          <a:xfrm>
            <a:off x="1446681" y="5305425"/>
            <a:ext cx="1835151" cy="510862"/>
          </a:xfrm>
        </p:spPr>
        <p:txBody>
          <a:bodyPr lIns="0" anchor="ctr"/>
          <a:lstStyle>
            <a:lvl1pPr>
              <a:lnSpc>
                <a:spcPct val="100000"/>
              </a:lnSpc>
              <a:defRPr lang="ru-RU" sz="1600">
                <a:solidFill>
                  <a:schemeClr val="tx1"/>
                </a:solidFill>
                <a:latin typeface="MTS Text Medium"/>
                <a:ea typeface="MTS Text Medium"/>
                <a:cs typeface="+mn-cs"/>
              </a:defRPr>
            </a:lvl1pPr>
          </a:lstStyle>
          <a:p>
            <a:pPr marL="0" lvl="0" indent="0" algn="l" defTabSz="967502">
              <a:spcBef>
                <a:spcPts val="200"/>
              </a:spcBef>
              <a:buFontTx/>
              <a:buNone/>
              <a:defRPr/>
            </a:pPr>
            <a:r>
              <a:rPr lang="ru-RU"/>
              <a:t>Имя </a:t>
            </a:r>
            <a:br>
              <a:rPr lang="ru-RU"/>
            </a:br>
            <a:r>
              <a:rPr lang="ru-RU"/>
              <a:t>Фамилия</a:t>
            </a:r>
            <a:endParaRPr/>
          </a:p>
        </p:txBody>
      </p:sp>
      <p:sp>
        <p:nvSpPr>
          <p:cNvPr id="1539979705" name="Текст 12"/>
          <p:cNvSpPr>
            <a:spLocks noGrp="1"/>
          </p:cNvSpPr>
          <p:nvPr>
            <p:ph type="body" sz="quarter" idx="13" hasCustomPrompt="1"/>
          </p:nvPr>
        </p:nvSpPr>
        <p:spPr bwMode="auto">
          <a:xfrm>
            <a:off x="1446681" y="5816287"/>
            <a:ext cx="3628556" cy="283335"/>
          </a:xfrm>
        </p:spPr>
        <p:txBody>
          <a:bodyPr lIns="0"/>
          <a:lstStyle>
            <a:lvl1pPr>
              <a:defRPr sz="1400">
                <a:solidFill>
                  <a:schemeClr val="bg1">
                    <a:lumMod val="50000"/>
                  </a:schemeClr>
                </a:solidFill>
                <a:latin typeface="+mn-lt"/>
                <a:ea typeface="MTS Text Medium"/>
              </a:defRPr>
            </a:lvl1pPr>
          </a:lstStyle>
          <a:p>
            <a:pPr lvl="0">
              <a:defRPr/>
            </a:pPr>
            <a:r>
              <a:rPr lang="ru-RU"/>
              <a:t>Должность</a:t>
            </a:r>
            <a:endParaRPr/>
          </a:p>
        </p:txBody>
      </p:sp>
      <p:sp>
        <p:nvSpPr>
          <p:cNvPr id="1514371731" name="Slide Number Placeholder 2"/>
          <p:cNvSpPr>
            <a:spLocks noGrp="1"/>
          </p:cNvSpPr>
          <p:nvPr>
            <p:ph type="sldNum" sz="quarter" idx="4"/>
          </p:nvPr>
        </p:nvSpPr>
        <p:spPr bwMode="auto">
          <a:xfrm>
            <a:off x="11478355" y="6504739"/>
            <a:ext cx="515937" cy="18188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r">
              <a:defRPr sz="900" b="0" i="0">
                <a:solidFill>
                  <a:schemeClr val="bg1">
                    <a:lumMod val="75000"/>
                  </a:schemeClr>
                </a:solidFill>
                <a:latin typeface="MTS Wide"/>
                <a:ea typeface="MTS Wide"/>
                <a:cs typeface="+mn-cs"/>
              </a:defRPr>
            </a:lvl1pPr>
          </a:lstStyle>
          <a:p>
            <a:pPr defTabSz="430123">
              <a:defRPr/>
            </a:pPr>
            <a:fld id="{A7E88AC1-0904-3C47-875C-3F6E82802988}" type="slidenum">
              <a:rPr lang="ru-RU"/>
              <a:t>‹#›</a:t>
            </a:fld>
            <a:endParaRPr lang="ru-RU"/>
          </a:p>
        </p:txBody>
      </p:sp>
      <p:sp>
        <p:nvSpPr>
          <p:cNvPr id="815053254" name="Рисунок 10"/>
          <p:cNvSpPr>
            <a:spLocks noGrp="1"/>
          </p:cNvSpPr>
          <p:nvPr>
            <p:ph type="pic" sz="quarter" idx="11" hasCustomPrompt="1"/>
          </p:nvPr>
        </p:nvSpPr>
        <p:spPr bwMode="auto">
          <a:xfrm>
            <a:off x="507999" y="5305425"/>
            <a:ext cx="790576" cy="790575"/>
          </a:xfrm>
          <a:prstGeom prst="roundRect">
            <a:avLst>
              <a:gd name="adj" fmla="val 11237"/>
            </a:avLst>
          </a:prstGeom>
          <a:noFill/>
        </p:spPr>
        <p:txBody>
          <a:bodyPr vert="horz" lIns="91440" tIns="45720" rIns="91440" bIns="45720" rtlCol="0" anchor="ctr">
            <a:noAutofit/>
          </a:bodyPr>
          <a:lstStyle>
            <a:lvl1pPr algn="ctr">
              <a:defRPr lang="ru-RU" sz="1050"/>
            </a:lvl1pPr>
          </a:lstStyle>
          <a:p>
            <a:pPr lvl="0" algn="ctr">
              <a:defRPr/>
            </a:pPr>
            <a:r>
              <a:rPr lang="ru-RU"/>
              <a:t>Фото спикера</a:t>
            </a:r>
            <a:endParaRPr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Разделитель / Простой">
    <p:bg>
      <p:bgPr>
        <a:solidFill>
          <a:srgbClr val="2C313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EC4B86A-8645-48E1-ADF7-F38293A424E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9" y="2119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8" name="think-cell Slide" r:id="rId4" imgW="359" imgH="367" progId="TCLayout.ActiveDocument.1">
                  <p:embed/>
                </p:oleObj>
              </mc:Choice>
              <mc:Fallback>
                <p:oleObj name="think-cell Slide" r:id="rId4" imgW="359" imgH="367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EC4B86A-8645-48E1-ADF7-F38293A424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9" name="Group 8">
            <a:extLst>
              <a:ext uri="{FF2B5EF4-FFF2-40B4-BE49-F238E27FC236}">
                <a16:creationId xmlns:a16="http://schemas.microsoft.com/office/drawing/2014/main" id="{86C1D7EE-81FC-4E23-83CD-B6C6E1C4D022}"/>
              </a:ext>
            </a:extLst>
          </p:cNvPr>
          <p:cNvGrpSpPr>
            <a:grpSpLocks noChangeAspect="1"/>
          </p:cNvGrpSpPr>
          <p:nvPr/>
        </p:nvGrpSpPr>
        <p:grpSpPr>
          <a:xfrm>
            <a:off x="11471277" y="1"/>
            <a:ext cx="720724" cy="720724"/>
            <a:chOff x="3108325" y="923925"/>
            <a:chExt cx="1769268" cy="1769268"/>
          </a:xfrm>
        </p:grpSpPr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5031CAAE-D98A-4999-A44E-95667FA8B2D6}"/>
                </a:ext>
              </a:extLst>
            </p:cNvPr>
            <p:cNvSpPr/>
            <p:nvPr/>
          </p:nvSpPr>
          <p:spPr>
            <a:xfrm>
              <a:off x="3108325" y="923925"/>
              <a:ext cx="1769268" cy="1769268"/>
            </a:xfrm>
            <a:custGeom>
              <a:avLst/>
              <a:gdLst>
                <a:gd name="connsiteX0" fmla="*/ 0 w 1769268"/>
                <a:gd name="connsiteY0" fmla="*/ 0 h 1769268"/>
                <a:gd name="connsiteX1" fmla="*/ 1769269 w 1769268"/>
                <a:gd name="connsiteY1" fmla="*/ 0 h 1769268"/>
                <a:gd name="connsiteX2" fmla="*/ 1769269 w 1769268"/>
                <a:gd name="connsiteY2" fmla="*/ 1769269 h 1769268"/>
                <a:gd name="connsiteX3" fmla="*/ 0 w 1769268"/>
                <a:gd name="connsiteY3" fmla="*/ 1769269 h 17692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69268" h="1769268">
                  <a:moveTo>
                    <a:pt x="0" y="0"/>
                  </a:moveTo>
                  <a:lnTo>
                    <a:pt x="1769269" y="0"/>
                  </a:lnTo>
                  <a:lnTo>
                    <a:pt x="1769269" y="1769269"/>
                  </a:lnTo>
                  <a:lnTo>
                    <a:pt x="0" y="1769269"/>
                  </a:lnTo>
                  <a:close/>
                </a:path>
              </a:pathLst>
            </a:custGeom>
            <a:solidFill>
              <a:srgbClr val="FF003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3200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36778EBC-F382-4284-BA04-63DFCA5A01D8}"/>
                </a:ext>
              </a:extLst>
            </p:cNvPr>
            <p:cNvSpPr/>
            <p:nvPr/>
          </p:nvSpPr>
          <p:spPr>
            <a:xfrm>
              <a:off x="4287041" y="1058797"/>
              <a:ext cx="455198" cy="410716"/>
            </a:xfrm>
            <a:custGeom>
              <a:avLst/>
              <a:gdLst>
                <a:gd name="connsiteX0" fmla="*/ 0 w 455199"/>
                <a:gd name="connsiteY0" fmla="*/ 0 h 410717"/>
                <a:gd name="connsiteX1" fmla="*/ 0 w 455199"/>
                <a:gd name="connsiteY1" fmla="*/ 82487 h 410717"/>
                <a:gd name="connsiteX2" fmla="*/ 177832 w 455199"/>
                <a:gd name="connsiteY2" fmla="*/ 82487 h 410717"/>
                <a:gd name="connsiteX3" fmla="*/ 177832 w 455199"/>
                <a:gd name="connsiteY3" fmla="*/ 405479 h 410717"/>
                <a:gd name="connsiteX4" fmla="*/ 177927 w 455199"/>
                <a:gd name="connsiteY4" fmla="*/ 410718 h 410717"/>
                <a:gd name="connsiteX5" fmla="*/ 277463 w 455199"/>
                <a:gd name="connsiteY5" fmla="*/ 410718 h 410717"/>
                <a:gd name="connsiteX6" fmla="*/ 277463 w 455199"/>
                <a:gd name="connsiteY6" fmla="*/ 82487 h 410717"/>
                <a:gd name="connsiteX7" fmla="*/ 455200 w 455199"/>
                <a:gd name="connsiteY7" fmla="*/ 82487 h 410717"/>
                <a:gd name="connsiteX8" fmla="*/ 455200 w 455199"/>
                <a:gd name="connsiteY8" fmla="*/ 0 h 410717"/>
                <a:gd name="connsiteX9" fmla="*/ 0 w 455199"/>
                <a:gd name="connsiteY9" fmla="*/ 0 h 410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55199" h="410717">
                  <a:moveTo>
                    <a:pt x="0" y="0"/>
                  </a:moveTo>
                  <a:lnTo>
                    <a:pt x="0" y="82487"/>
                  </a:lnTo>
                  <a:lnTo>
                    <a:pt x="177832" y="82487"/>
                  </a:lnTo>
                  <a:lnTo>
                    <a:pt x="177832" y="405479"/>
                  </a:lnTo>
                  <a:lnTo>
                    <a:pt x="177927" y="410718"/>
                  </a:lnTo>
                  <a:lnTo>
                    <a:pt x="277463" y="410718"/>
                  </a:lnTo>
                  <a:lnTo>
                    <a:pt x="277463" y="82487"/>
                  </a:lnTo>
                  <a:lnTo>
                    <a:pt x="455200" y="82487"/>
                  </a:lnTo>
                  <a:lnTo>
                    <a:pt x="45520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3200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FC4F0FEE-BC63-4B92-B141-024C613BB063}"/>
                </a:ext>
              </a:extLst>
            </p:cNvPr>
            <p:cNvSpPr/>
            <p:nvPr/>
          </p:nvSpPr>
          <p:spPr>
            <a:xfrm>
              <a:off x="3244532" y="1060037"/>
              <a:ext cx="544163" cy="408336"/>
            </a:xfrm>
            <a:custGeom>
              <a:avLst/>
              <a:gdLst>
                <a:gd name="connsiteX0" fmla="*/ 402146 w 544163"/>
                <a:gd name="connsiteY0" fmla="*/ 0 h 408336"/>
                <a:gd name="connsiteX1" fmla="*/ 272129 w 544163"/>
                <a:gd name="connsiteY1" fmla="*/ 270034 h 408336"/>
                <a:gd name="connsiteX2" fmla="*/ 142018 w 544163"/>
                <a:gd name="connsiteY2" fmla="*/ 0 h 408336"/>
                <a:gd name="connsiteX3" fmla="*/ 0 w 544163"/>
                <a:gd name="connsiteY3" fmla="*/ 0 h 408336"/>
                <a:gd name="connsiteX4" fmla="*/ 0 w 544163"/>
                <a:gd name="connsiteY4" fmla="*/ 408337 h 408336"/>
                <a:gd name="connsiteX5" fmla="*/ 99536 w 544163"/>
                <a:gd name="connsiteY5" fmla="*/ 408337 h 408336"/>
                <a:gd name="connsiteX6" fmla="*/ 99536 w 544163"/>
                <a:gd name="connsiteY6" fmla="*/ 116110 h 408336"/>
                <a:gd name="connsiteX7" fmla="*/ 226695 w 544163"/>
                <a:gd name="connsiteY7" fmla="*/ 362903 h 408336"/>
                <a:gd name="connsiteX8" fmla="*/ 317468 w 544163"/>
                <a:gd name="connsiteY8" fmla="*/ 362903 h 408336"/>
                <a:gd name="connsiteX9" fmla="*/ 444627 w 544163"/>
                <a:gd name="connsiteY9" fmla="*/ 116110 h 408336"/>
                <a:gd name="connsiteX10" fmla="*/ 444627 w 544163"/>
                <a:gd name="connsiteY10" fmla="*/ 408337 h 408336"/>
                <a:gd name="connsiteX11" fmla="*/ 544163 w 544163"/>
                <a:gd name="connsiteY11" fmla="*/ 408337 h 408336"/>
                <a:gd name="connsiteX12" fmla="*/ 544163 w 544163"/>
                <a:gd name="connsiteY12" fmla="*/ 0 h 408336"/>
                <a:gd name="connsiteX13" fmla="*/ 402146 w 544163"/>
                <a:gd name="connsiteY13" fmla="*/ 0 h 4083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44163" h="408336">
                  <a:moveTo>
                    <a:pt x="402146" y="0"/>
                  </a:moveTo>
                  <a:lnTo>
                    <a:pt x="272129" y="270034"/>
                  </a:lnTo>
                  <a:lnTo>
                    <a:pt x="142018" y="0"/>
                  </a:lnTo>
                  <a:lnTo>
                    <a:pt x="0" y="0"/>
                  </a:lnTo>
                  <a:lnTo>
                    <a:pt x="0" y="408337"/>
                  </a:lnTo>
                  <a:lnTo>
                    <a:pt x="99536" y="408337"/>
                  </a:lnTo>
                  <a:lnTo>
                    <a:pt x="99536" y="116110"/>
                  </a:lnTo>
                  <a:lnTo>
                    <a:pt x="226695" y="362903"/>
                  </a:lnTo>
                  <a:lnTo>
                    <a:pt x="317468" y="362903"/>
                  </a:lnTo>
                  <a:lnTo>
                    <a:pt x="444627" y="116110"/>
                  </a:lnTo>
                  <a:lnTo>
                    <a:pt x="444627" y="408337"/>
                  </a:lnTo>
                  <a:lnTo>
                    <a:pt x="544163" y="408337"/>
                  </a:lnTo>
                  <a:lnTo>
                    <a:pt x="544163" y="0"/>
                  </a:lnTo>
                  <a:lnTo>
                    <a:pt x="402146" y="0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3200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998CD02F-4BB1-4284-8E37-D282A09BC79D}"/>
                </a:ext>
              </a:extLst>
            </p:cNvPr>
            <p:cNvSpPr/>
            <p:nvPr/>
          </p:nvSpPr>
          <p:spPr>
            <a:xfrm>
              <a:off x="4287140" y="2139602"/>
              <a:ext cx="455007" cy="425856"/>
            </a:xfrm>
            <a:custGeom>
              <a:avLst/>
              <a:gdLst>
                <a:gd name="connsiteX0" fmla="*/ 352792 w 455007"/>
                <a:gd name="connsiteY0" fmla="*/ 281366 h 425856"/>
                <a:gd name="connsiteX1" fmla="*/ 333742 w 455007"/>
                <a:gd name="connsiteY1" fmla="*/ 321181 h 425856"/>
                <a:gd name="connsiteX2" fmla="*/ 293833 w 455007"/>
                <a:gd name="connsiteY2" fmla="*/ 341279 h 425856"/>
                <a:gd name="connsiteX3" fmla="*/ 227921 w 455007"/>
                <a:gd name="connsiteY3" fmla="*/ 347184 h 425856"/>
                <a:gd name="connsiteX4" fmla="*/ 158483 w 455007"/>
                <a:gd name="connsiteY4" fmla="*/ 337088 h 425856"/>
                <a:gd name="connsiteX5" fmla="*/ 113621 w 455007"/>
                <a:gd name="connsiteY5" fmla="*/ 303179 h 425856"/>
                <a:gd name="connsiteX6" fmla="*/ 97333 w 455007"/>
                <a:gd name="connsiteY6" fmla="*/ 234218 h 425856"/>
                <a:gd name="connsiteX7" fmla="*/ 97333 w 455007"/>
                <a:gd name="connsiteY7" fmla="*/ 192498 h 425856"/>
                <a:gd name="connsiteX8" fmla="*/ 113621 w 455007"/>
                <a:gd name="connsiteY8" fmla="*/ 123537 h 425856"/>
                <a:gd name="connsiteX9" fmla="*/ 158483 w 455007"/>
                <a:gd name="connsiteY9" fmla="*/ 89628 h 425856"/>
                <a:gd name="connsiteX10" fmla="*/ 227921 w 455007"/>
                <a:gd name="connsiteY10" fmla="*/ 79532 h 425856"/>
                <a:gd name="connsiteX11" fmla="*/ 293833 w 455007"/>
                <a:gd name="connsiteY11" fmla="*/ 85437 h 425856"/>
                <a:gd name="connsiteX12" fmla="*/ 333742 w 455007"/>
                <a:gd name="connsiteY12" fmla="*/ 105535 h 425856"/>
                <a:gd name="connsiteX13" fmla="*/ 352792 w 455007"/>
                <a:gd name="connsiteY13" fmla="*/ 145349 h 425856"/>
                <a:gd name="connsiteX14" fmla="*/ 452423 w 455007"/>
                <a:gd name="connsiteY14" fmla="*/ 145349 h 425856"/>
                <a:gd name="connsiteX15" fmla="*/ 418230 w 455007"/>
                <a:gd name="connsiteY15" fmla="*/ 59624 h 425856"/>
                <a:gd name="connsiteX16" fmla="*/ 343458 w 455007"/>
                <a:gd name="connsiteY16" fmla="*/ 14000 h 425856"/>
                <a:gd name="connsiteX17" fmla="*/ 227444 w 455007"/>
                <a:gd name="connsiteY17" fmla="*/ 93 h 425856"/>
                <a:gd name="connsiteX18" fmla="*/ 104382 w 455007"/>
                <a:gd name="connsiteY18" fmla="*/ 20477 h 425856"/>
                <a:gd name="connsiteX19" fmla="*/ 24847 w 455007"/>
                <a:gd name="connsiteY19" fmla="*/ 88580 h 425856"/>
                <a:gd name="connsiteX20" fmla="*/ -2584 w 455007"/>
                <a:gd name="connsiteY20" fmla="*/ 208310 h 425856"/>
                <a:gd name="connsiteX21" fmla="*/ -2584 w 455007"/>
                <a:gd name="connsiteY21" fmla="*/ 208310 h 425856"/>
                <a:gd name="connsiteX22" fmla="*/ -2584 w 455007"/>
                <a:gd name="connsiteY22" fmla="*/ 213072 h 425856"/>
                <a:gd name="connsiteX23" fmla="*/ 2653 w 455007"/>
                <a:gd name="connsiteY23" fmla="*/ 213072 h 425856"/>
                <a:gd name="connsiteX24" fmla="*/ -2584 w 455007"/>
                <a:gd name="connsiteY24" fmla="*/ 213072 h 425856"/>
                <a:gd name="connsiteX25" fmla="*/ -2584 w 455007"/>
                <a:gd name="connsiteY25" fmla="*/ 217644 h 425856"/>
                <a:gd name="connsiteX26" fmla="*/ -2584 w 455007"/>
                <a:gd name="connsiteY26" fmla="*/ 217644 h 425856"/>
                <a:gd name="connsiteX27" fmla="*/ 24847 w 455007"/>
                <a:gd name="connsiteY27" fmla="*/ 337373 h 425856"/>
                <a:gd name="connsiteX28" fmla="*/ 104382 w 455007"/>
                <a:gd name="connsiteY28" fmla="*/ 405382 h 425856"/>
                <a:gd name="connsiteX29" fmla="*/ 227444 w 455007"/>
                <a:gd name="connsiteY29" fmla="*/ 425765 h 425856"/>
                <a:gd name="connsiteX30" fmla="*/ 343458 w 455007"/>
                <a:gd name="connsiteY30" fmla="*/ 411954 h 425856"/>
                <a:gd name="connsiteX31" fmla="*/ 418230 w 455007"/>
                <a:gd name="connsiteY31" fmla="*/ 366234 h 425856"/>
                <a:gd name="connsiteX32" fmla="*/ 452423 w 455007"/>
                <a:gd name="connsiteY32" fmla="*/ 280509 h 4258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455007" h="425856">
                  <a:moveTo>
                    <a:pt x="352792" y="281366"/>
                  </a:moveTo>
                  <a:cubicBezTo>
                    <a:pt x="351078" y="296387"/>
                    <a:pt x="344316" y="310399"/>
                    <a:pt x="333742" y="321181"/>
                  </a:cubicBezTo>
                  <a:cubicBezTo>
                    <a:pt x="322503" y="331382"/>
                    <a:pt x="308693" y="338335"/>
                    <a:pt x="293833" y="341279"/>
                  </a:cubicBezTo>
                  <a:cubicBezTo>
                    <a:pt x="272116" y="345517"/>
                    <a:pt x="250017" y="347489"/>
                    <a:pt x="227921" y="347184"/>
                  </a:cubicBezTo>
                  <a:cubicBezTo>
                    <a:pt x="204394" y="347594"/>
                    <a:pt x="180961" y="344184"/>
                    <a:pt x="158483" y="337088"/>
                  </a:cubicBezTo>
                  <a:cubicBezTo>
                    <a:pt x="140196" y="331087"/>
                    <a:pt x="124383" y="319152"/>
                    <a:pt x="113621" y="303179"/>
                  </a:cubicBezTo>
                  <a:cubicBezTo>
                    <a:pt x="102856" y="287177"/>
                    <a:pt x="97333" y="263936"/>
                    <a:pt x="97333" y="234218"/>
                  </a:cubicBezTo>
                  <a:lnTo>
                    <a:pt x="97333" y="192498"/>
                  </a:lnTo>
                  <a:cubicBezTo>
                    <a:pt x="97333" y="162780"/>
                    <a:pt x="102856" y="139539"/>
                    <a:pt x="113621" y="123537"/>
                  </a:cubicBezTo>
                  <a:cubicBezTo>
                    <a:pt x="124383" y="107564"/>
                    <a:pt x="140196" y="95629"/>
                    <a:pt x="158483" y="89628"/>
                  </a:cubicBezTo>
                  <a:cubicBezTo>
                    <a:pt x="180961" y="82484"/>
                    <a:pt x="204394" y="79075"/>
                    <a:pt x="227921" y="79532"/>
                  </a:cubicBezTo>
                  <a:cubicBezTo>
                    <a:pt x="250017" y="79179"/>
                    <a:pt x="272116" y="81151"/>
                    <a:pt x="293833" y="85437"/>
                  </a:cubicBezTo>
                  <a:cubicBezTo>
                    <a:pt x="308693" y="88380"/>
                    <a:pt x="322503" y="95334"/>
                    <a:pt x="333742" y="105535"/>
                  </a:cubicBezTo>
                  <a:cubicBezTo>
                    <a:pt x="344316" y="116317"/>
                    <a:pt x="351078" y="130329"/>
                    <a:pt x="352792" y="145349"/>
                  </a:cubicBezTo>
                  <a:lnTo>
                    <a:pt x="452423" y="145349"/>
                  </a:lnTo>
                  <a:cubicBezTo>
                    <a:pt x="450709" y="113812"/>
                    <a:pt x="438708" y="83713"/>
                    <a:pt x="418230" y="59624"/>
                  </a:cubicBezTo>
                  <a:cubicBezTo>
                    <a:pt x="398227" y="37546"/>
                    <a:pt x="372224" y="21705"/>
                    <a:pt x="343458" y="14000"/>
                  </a:cubicBezTo>
                  <a:cubicBezTo>
                    <a:pt x="305644" y="4018"/>
                    <a:pt x="266590" y="-669"/>
                    <a:pt x="227444" y="93"/>
                  </a:cubicBezTo>
                  <a:cubicBezTo>
                    <a:pt x="185535" y="-897"/>
                    <a:pt x="143719" y="6018"/>
                    <a:pt x="104382" y="20477"/>
                  </a:cubicBezTo>
                  <a:cubicBezTo>
                    <a:pt x="70854" y="33431"/>
                    <a:pt x="42753" y="57462"/>
                    <a:pt x="24847" y="88580"/>
                  </a:cubicBezTo>
                  <a:cubicBezTo>
                    <a:pt x="7225" y="118775"/>
                    <a:pt x="-2014" y="158970"/>
                    <a:pt x="-2584" y="208310"/>
                  </a:cubicBezTo>
                  <a:lnTo>
                    <a:pt x="-2584" y="208310"/>
                  </a:lnTo>
                  <a:lnTo>
                    <a:pt x="-2584" y="213072"/>
                  </a:lnTo>
                  <a:lnTo>
                    <a:pt x="2653" y="213072"/>
                  </a:lnTo>
                  <a:lnTo>
                    <a:pt x="-2584" y="213072"/>
                  </a:lnTo>
                  <a:lnTo>
                    <a:pt x="-2584" y="217644"/>
                  </a:lnTo>
                  <a:lnTo>
                    <a:pt x="-2584" y="217644"/>
                  </a:lnTo>
                  <a:cubicBezTo>
                    <a:pt x="-2014" y="266984"/>
                    <a:pt x="6941" y="307179"/>
                    <a:pt x="24847" y="337373"/>
                  </a:cubicBezTo>
                  <a:cubicBezTo>
                    <a:pt x="42753" y="368492"/>
                    <a:pt x="70854" y="392495"/>
                    <a:pt x="104382" y="405382"/>
                  </a:cubicBezTo>
                  <a:cubicBezTo>
                    <a:pt x="143719" y="419831"/>
                    <a:pt x="185535" y="426747"/>
                    <a:pt x="227444" y="425765"/>
                  </a:cubicBezTo>
                  <a:cubicBezTo>
                    <a:pt x="266590" y="426556"/>
                    <a:pt x="305644" y="421908"/>
                    <a:pt x="343458" y="411954"/>
                  </a:cubicBezTo>
                  <a:cubicBezTo>
                    <a:pt x="372319" y="404258"/>
                    <a:pt x="398227" y="388380"/>
                    <a:pt x="418230" y="366234"/>
                  </a:cubicBezTo>
                  <a:cubicBezTo>
                    <a:pt x="438612" y="342145"/>
                    <a:pt x="450709" y="312047"/>
                    <a:pt x="452423" y="280509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3200"/>
            </a:p>
          </p:txBody>
        </p:sp>
      </p:grpSp>
      <p:sp>
        <p:nvSpPr>
          <p:cNvPr id="15" name="Заголовок 1">
            <a:extLst>
              <a:ext uri="{FF2B5EF4-FFF2-40B4-BE49-F238E27FC236}">
                <a16:creationId xmlns:a16="http://schemas.microsoft.com/office/drawing/2014/main" id="{734C5B97-C1FF-4781-8994-5B284F44C30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20725" y="5220001"/>
            <a:ext cx="10440000" cy="1234505"/>
          </a:xfrm>
          <a:prstGeom prst="rect">
            <a:avLst/>
          </a:prstGeom>
        </p:spPr>
        <p:txBody>
          <a:bodyPr vert="horz" wrap="square" lIns="0" tIns="0" rIns="0" bIns="0" anchor="b">
            <a:spAutoFit/>
          </a:bodyPr>
          <a:lstStyle>
            <a:lvl1pPr algn="l">
              <a:lnSpc>
                <a:spcPct val="80000"/>
              </a:lnSpc>
              <a:defRPr sz="5000" cap="all" baseline="0">
                <a:solidFill>
                  <a:schemeClr val="bg1"/>
                </a:solidFill>
                <a:latin typeface="+mj-lt"/>
                <a:ea typeface="MTS Extended Medium" panose="020B0306020102020303" pitchFamily="34" charset="0"/>
              </a:defRPr>
            </a:lvl1pPr>
          </a:lstStyle>
          <a:p>
            <a:r>
              <a:rPr lang="ru-RU" dirty="0"/>
              <a:t>Раздел</a:t>
            </a:r>
            <a:br>
              <a:rPr lang="ru-RU" dirty="0"/>
            </a:br>
            <a:r>
              <a:rPr lang="ru-RU" dirty="0"/>
              <a:t>презентации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A5641EAB-C75C-4B07-8EC0-EA77B190BA35}"/>
              </a:ext>
            </a:extLst>
          </p:cNvPr>
          <p:cNvSpPr txBox="1"/>
          <p:nvPr/>
        </p:nvSpPr>
        <p:spPr>
          <a:xfrm>
            <a:off x="180000" y="179389"/>
            <a:ext cx="360000" cy="1077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fld id="{D4173914-8D64-4736-8A19-DA80CA0FDAB6}" type="slidenum">
              <a:rPr lang="ru-RU" sz="700" b="0" smtClean="0">
                <a:solidFill>
                  <a:srgbClr val="969FA8"/>
                </a:solidFill>
                <a:latin typeface="+mn-lt"/>
                <a:ea typeface="MTS Text Medium" panose="020B0306020102020303" pitchFamily="34" charset="0"/>
              </a:rPr>
              <a:pPr algn="l"/>
              <a:t>‹#›</a:t>
            </a:fld>
            <a:endParaRPr lang="ru-RU" sz="700" b="0" dirty="0">
              <a:solidFill>
                <a:srgbClr val="969FA8"/>
              </a:solidFill>
              <a:latin typeface="+mn-lt"/>
              <a:ea typeface="MTS Text Medium" panose="020B0306020102020303" pitchFamily="34" charset="0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5A07C25F-2474-461C-A269-C49F142672D1}"/>
              </a:ext>
            </a:extLst>
          </p:cNvPr>
          <p:cNvSpPr txBox="1"/>
          <p:nvPr/>
        </p:nvSpPr>
        <p:spPr>
          <a:xfrm>
            <a:off x="719999" y="180000"/>
            <a:ext cx="7200000" cy="21544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ru-RU" sz="700" cap="all" baseline="0" dirty="0">
                <a:solidFill>
                  <a:srgbClr val="969FA8"/>
                </a:solidFill>
              </a:rPr>
              <a:t>НЕ ПРЕДНАЗНАЧЕНО ДЛЯ ПОЛНОГО ИЛИ ЧАСТИЧНОГО ОБНАРОДОВАНИЯ И/ИЛИ РАСПРОСТРАНЕНИЯ! </a:t>
            </a:r>
          </a:p>
          <a:p>
            <a:r>
              <a:rPr lang="ru-RU" sz="700" cap="all" baseline="0" dirty="0">
                <a:solidFill>
                  <a:srgbClr val="969FA8"/>
                </a:solidFill>
              </a:rPr>
              <a:t>Передача этого документа или его части любым лицам или компаниям, не входящим в Группу МТС, строго запрещена!</a:t>
            </a:r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D5B95A35-9FD8-4FFD-AE3C-5BB5428F5D2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20723" y="1080001"/>
            <a:ext cx="4320000" cy="461665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000">
                <a:solidFill>
                  <a:srgbClr val="969FA8"/>
                </a:solidFill>
                <a:latin typeface="MTS Wide" panose="020B0306020102020303" pitchFamily="34" charset="0"/>
                <a:ea typeface="MTS Wide" panose="020B0306020102020303" pitchFamily="34" charset="0"/>
              </a:defRPr>
            </a:lvl1pPr>
            <a:lvl2pPr marL="457212" indent="0">
              <a:buNone/>
              <a:defRPr sz="1867"/>
            </a:lvl2pPr>
            <a:lvl3pPr marL="914423" indent="0">
              <a:buNone/>
              <a:defRPr sz="1867"/>
            </a:lvl3pPr>
            <a:lvl4pPr marL="1371635" indent="0">
              <a:buNone/>
              <a:defRPr sz="1867"/>
            </a:lvl4pPr>
            <a:lvl5pPr marL="1828845" indent="0">
              <a:buNone/>
              <a:defRPr sz="1867"/>
            </a:lvl5pPr>
          </a:lstStyle>
          <a:p>
            <a:pPr lvl="0"/>
            <a:r>
              <a:rPr lang="ru-RU" dirty="0"/>
              <a:t>00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3277931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Разделитель / С подзаголовоком">
    <p:bg>
      <p:bgPr>
        <a:solidFill>
          <a:srgbClr val="2C313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EC4B86A-8645-48E1-ADF7-F38293A424E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9" y="2119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2" name="think-cell Slide" r:id="rId4" imgW="359" imgH="367" progId="TCLayout.ActiveDocument.1">
                  <p:embed/>
                </p:oleObj>
              </mc:Choice>
              <mc:Fallback>
                <p:oleObj name="think-cell Slide" r:id="rId4" imgW="359" imgH="367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EC4B86A-8645-48E1-ADF7-F38293A424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9" name="Group 8">
            <a:extLst>
              <a:ext uri="{FF2B5EF4-FFF2-40B4-BE49-F238E27FC236}">
                <a16:creationId xmlns:a16="http://schemas.microsoft.com/office/drawing/2014/main" id="{86C1D7EE-81FC-4E23-83CD-B6C6E1C4D022}"/>
              </a:ext>
            </a:extLst>
          </p:cNvPr>
          <p:cNvGrpSpPr>
            <a:grpSpLocks noChangeAspect="1"/>
          </p:cNvGrpSpPr>
          <p:nvPr/>
        </p:nvGrpSpPr>
        <p:grpSpPr>
          <a:xfrm>
            <a:off x="11471277" y="1"/>
            <a:ext cx="720724" cy="720724"/>
            <a:chOff x="3108325" y="923925"/>
            <a:chExt cx="1769268" cy="1769268"/>
          </a:xfrm>
        </p:grpSpPr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5031CAAE-D98A-4999-A44E-95667FA8B2D6}"/>
                </a:ext>
              </a:extLst>
            </p:cNvPr>
            <p:cNvSpPr/>
            <p:nvPr/>
          </p:nvSpPr>
          <p:spPr>
            <a:xfrm>
              <a:off x="3108325" y="923925"/>
              <a:ext cx="1769268" cy="1769268"/>
            </a:xfrm>
            <a:custGeom>
              <a:avLst/>
              <a:gdLst>
                <a:gd name="connsiteX0" fmla="*/ 0 w 1769268"/>
                <a:gd name="connsiteY0" fmla="*/ 0 h 1769268"/>
                <a:gd name="connsiteX1" fmla="*/ 1769269 w 1769268"/>
                <a:gd name="connsiteY1" fmla="*/ 0 h 1769268"/>
                <a:gd name="connsiteX2" fmla="*/ 1769269 w 1769268"/>
                <a:gd name="connsiteY2" fmla="*/ 1769269 h 1769268"/>
                <a:gd name="connsiteX3" fmla="*/ 0 w 1769268"/>
                <a:gd name="connsiteY3" fmla="*/ 1769269 h 17692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69268" h="1769268">
                  <a:moveTo>
                    <a:pt x="0" y="0"/>
                  </a:moveTo>
                  <a:lnTo>
                    <a:pt x="1769269" y="0"/>
                  </a:lnTo>
                  <a:lnTo>
                    <a:pt x="1769269" y="1769269"/>
                  </a:lnTo>
                  <a:lnTo>
                    <a:pt x="0" y="1769269"/>
                  </a:lnTo>
                  <a:close/>
                </a:path>
              </a:pathLst>
            </a:custGeom>
            <a:solidFill>
              <a:srgbClr val="FF003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3200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36778EBC-F382-4284-BA04-63DFCA5A01D8}"/>
                </a:ext>
              </a:extLst>
            </p:cNvPr>
            <p:cNvSpPr/>
            <p:nvPr/>
          </p:nvSpPr>
          <p:spPr>
            <a:xfrm>
              <a:off x="4287041" y="1058797"/>
              <a:ext cx="455198" cy="410716"/>
            </a:xfrm>
            <a:custGeom>
              <a:avLst/>
              <a:gdLst>
                <a:gd name="connsiteX0" fmla="*/ 0 w 455199"/>
                <a:gd name="connsiteY0" fmla="*/ 0 h 410717"/>
                <a:gd name="connsiteX1" fmla="*/ 0 w 455199"/>
                <a:gd name="connsiteY1" fmla="*/ 82487 h 410717"/>
                <a:gd name="connsiteX2" fmla="*/ 177832 w 455199"/>
                <a:gd name="connsiteY2" fmla="*/ 82487 h 410717"/>
                <a:gd name="connsiteX3" fmla="*/ 177832 w 455199"/>
                <a:gd name="connsiteY3" fmla="*/ 405479 h 410717"/>
                <a:gd name="connsiteX4" fmla="*/ 177927 w 455199"/>
                <a:gd name="connsiteY4" fmla="*/ 410718 h 410717"/>
                <a:gd name="connsiteX5" fmla="*/ 277463 w 455199"/>
                <a:gd name="connsiteY5" fmla="*/ 410718 h 410717"/>
                <a:gd name="connsiteX6" fmla="*/ 277463 w 455199"/>
                <a:gd name="connsiteY6" fmla="*/ 82487 h 410717"/>
                <a:gd name="connsiteX7" fmla="*/ 455200 w 455199"/>
                <a:gd name="connsiteY7" fmla="*/ 82487 h 410717"/>
                <a:gd name="connsiteX8" fmla="*/ 455200 w 455199"/>
                <a:gd name="connsiteY8" fmla="*/ 0 h 410717"/>
                <a:gd name="connsiteX9" fmla="*/ 0 w 455199"/>
                <a:gd name="connsiteY9" fmla="*/ 0 h 410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55199" h="410717">
                  <a:moveTo>
                    <a:pt x="0" y="0"/>
                  </a:moveTo>
                  <a:lnTo>
                    <a:pt x="0" y="82487"/>
                  </a:lnTo>
                  <a:lnTo>
                    <a:pt x="177832" y="82487"/>
                  </a:lnTo>
                  <a:lnTo>
                    <a:pt x="177832" y="405479"/>
                  </a:lnTo>
                  <a:lnTo>
                    <a:pt x="177927" y="410718"/>
                  </a:lnTo>
                  <a:lnTo>
                    <a:pt x="277463" y="410718"/>
                  </a:lnTo>
                  <a:lnTo>
                    <a:pt x="277463" y="82487"/>
                  </a:lnTo>
                  <a:lnTo>
                    <a:pt x="455200" y="82487"/>
                  </a:lnTo>
                  <a:lnTo>
                    <a:pt x="45520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3200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FC4F0FEE-BC63-4B92-B141-024C613BB063}"/>
                </a:ext>
              </a:extLst>
            </p:cNvPr>
            <p:cNvSpPr/>
            <p:nvPr/>
          </p:nvSpPr>
          <p:spPr>
            <a:xfrm>
              <a:off x="3244532" y="1060037"/>
              <a:ext cx="544163" cy="408336"/>
            </a:xfrm>
            <a:custGeom>
              <a:avLst/>
              <a:gdLst>
                <a:gd name="connsiteX0" fmla="*/ 402146 w 544163"/>
                <a:gd name="connsiteY0" fmla="*/ 0 h 408336"/>
                <a:gd name="connsiteX1" fmla="*/ 272129 w 544163"/>
                <a:gd name="connsiteY1" fmla="*/ 270034 h 408336"/>
                <a:gd name="connsiteX2" fmla="*/ 142018 w 544163"/>
                <a:gd name="connsiteY2" fmla="*/ 0 h 408336"/>
                <a:gd name="connsiteX3" fmla="*/ 0 w 544163"/>
                <a:gd name="connsiteY3" fmla="*/ 0 h 408336"/>
                <a:gd name="connsiteX4" fmla="*/ 0 w 544163"/>
                <a:gd name="connsiteY4" fmla="*/ 408337 h 408336"/>
                <a:gd name="connsiteX5" fmla="*/ 99536 w 544163"/>
                <a:gd name="connsiteY5" fmla="*/ 408337 h 408336"/>
                <a:gd name="connsiteX6" fmla="*/ 99536 w 544163"/>
                <a:gd name="connsiteY6" fmla="*/ 116110 h 408336"/>
                <a:gd name="connsiteX7" fmla="*/ 226695 w 544163"/>
                <a:gd name="connsiteY7" fmla="*/ 362903 h 408336"/>
                <a:gd name="connsiteX8" fmla="*/ 317468 w 544163"/>
                <a:gd name="connsiteY8" fmla="*/ 362903 h 408336"/>
                <a:gd name="connsiteX9" fmla="*/ 444627 w 544163"/>
                <a:gd name="connsiteY9" fmla="*/ 116110 h 408336"/>
                <a:gd name="connsiteX10" fmla="*/ 444627 w 544163"/>
                <a:gd name="connsiteY10" fmla="*/ 408337 h 408336"/>
                <a:gd name="connsiteX11" fmla="*/ 544163 w 544163"/>
                <a:gd name="connsiteY11" fmla="*/ 408337 h 408336"/>
                <a:gd name="connsiteX12" fmla="*/ 544163 w 544163"/>
                <a:gd name="connsiteY12" fmla="*/ 0 h 408336"/>
                <a:gd name="connsiteX13" fmla="*/ 402146 w 544163"/>
                <a:gd name="connsiteY13" fmla="*/ 0 h 4083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44163" h="408336">
                  <a:moveTo>
                    <a:pt x="402146" y="0"/>
                  </a:moveTo>
                  <a:lnTo>
                    <a:pt x="272129" y="270034"/>
                  </a:lnTo>
                  <a:lnTo>
                    <a:pt x="142018" y="0"/>
                  </a:lnTo>
                  <a:lnTo>
                    <a:pt x="0" y="0"/>
                  </a:lnTo>
                  <a:lnTo>
                    <a:pt x="0" y="408337"/>
                  </a:lnTo>
                  <a:lnTo>
                    <a:pt x="99536" y="408337"/>
                  </a:lnTo>
                  <a:lnTo>
                    <a:pt x="99536" y="116110"/>
                  </a:lnTo>
                  <a:lnTo>
                    <a:pt x="226695" y="362903"/>
                  </a:lnTo>
                  <a:lnTo>
                    <a:pt x="317468" y="362903"/>
                  </a:lnTo>
                  <a:lnTo>
                    <a:pt x="444627" y="116110"/>
                  </a:lnTo>
                  <a:lnTo>
                    <a:pt x="444627" y="408337"/>
                  </a:lnTo>
                  <a:lnTo>
                    <a:pt x="544163" y="408337"/>
                  </a:lnTo>
                  <a:lnTo>
                    <a:pt x="544163" y="0"/>
                  </a:lnTo>
                  <a:lnTo>
                    <a:pt x="402146" y="0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3200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998CD02F-4BB1-4284-8E37-D282A09BC79D}"/>
                </a:ext>
              </a:extLst>
            </p:cNvPr>
            <p:cNvSpPr/>
            <p:nvPr/>
          </p:nvSpPr>
          <p:spPr>
            <a:xfrm>
              <a:off x="4287140" y="2139602"/>
              <a:ext cx="455007" cy="425856"/>
            </a:xfrm>
            <a:custGeom>
              <a:avLst/>
              <a:gdLst>
                <a:gd name="connsiteX0" fmla="*/ 352792 w 455007"/>
                <a:gd name="connsiteY0" fmla="*/ 281366 h 425856"/>
                <a:gd name="connsiteX1" fmla="*/ 333742 w 455007"/>
                <a:gd name="connsiteY1" fmla="*/ 321181 h 425856"/>
                <a:gd name="connsiteX2" fmla="*/ 293833 w 455007"/>
                <a:gd name="connsiteY2" fmla="*/ 341279 h 425856"/>
                <a:gd name="connsiteX3" fmla="*/ 227921 w 455007"/>
                <a:gd name="connsiteY3" fmla="*/ 347184 h 425856"/>
                <a:gd name="connsiteX4" fmla="*/ 158483 w 455007"/>
                <a:gd name="connsiteY4" fmla="*/ 337088 h 425856"/>
                <a:gd name="connsiteX5" fmla="*/ 113621 w 455007"/>
                <a:gd name="connsiteY5" fmla="*/ 303179 h 425856"/>
                <a:gd name="connsiteX6" fmla="*/ 97333 w 455007"/>
                <a:gd name="connsiteY6" fmla="*/ 234218 h 425856"/>
                <a:gd name="connsiteX7" fmla="*/ 97333 w 455007"/>
                <a:gd name="connsiteY7" fmla="*/ 192498 h 425856"/>
                <a:gd name="connsiteX8" fmla="*/ 113621 w 455007"/>
                <a:gd name="connsiteY8" fmla="*/ 123537 h 425856"/>
                <a:gd name="connsiteX9" fmla="*/ 158483 w 455007"/>
                <a:gd name="connsiteY9" fmla="*/ 89628 h 425856"/>
                <a:gd name="connsiteX10" fmla="*/ 227921 w 455007"/>
                <a:gd name="connsiteY10" fmla="*/ 79532 h 425856"/>
                <a:gd name="connsiteX11" fmla="*/ 293833 w 455007"/>
                <a:gd name="connsiteY11" fmla="*/ 85437 h 425856"/>
                <a:gd name="connsiteX12" fmla="*/ 333742 w 455007"/>
                <a:gd name="connsiteY12" fmla="*/ 105535 h 425856"/>
                <a:gd name="connsiteX13" fmla="*/ 352792 w 455007"/>
                <a:gd name="connsiteY13" fmla="*/ 145349 h 425856"/>
                <a:gd name="connsiteX14" fmla="*/ 452423 w 455007"/>
                <a:gd name="connsiteY14" fmla="*/ 145349 h 425856"/>
                <a:gd name="connsiteX15" fmla="*/ 418230 w 455007"/>
                <a:gd name="connsiteY15" fmla="*/ 59624 h 425856"/>
                <a:gd name="connsiteX16" fmla="*/ 343458 w 455007"/>
                <a:gd name="connsiteY16" fmla="*/ 14000 h 425856"/>
                <a:gd name="connsiteX17" fmla="*/ 227444 w 455007"/>
                <a:gd name="connsiteY17" fmla="*/ 93 h 425856"/>
                <a:gd name="connsiteX18" fmla="*/ 104382 w 455007"/>
                <a:gd name="connsiteY18" fmla="*/ 20477 h 425856"/>
                <a:gd name="connsiteX19" fmla="*/ 24847 w 455007"/>
                <a:gd name="connsiteY19" fmla="*/ 88580 h 425856"/>
                <a:gd name="connsiteX20" fmla="*/ -2584 w 455007"/>
                <a:gd name="connsiteY20" fmla="*/ 208310 h 425856"/>
                <a:gd name="connsiteX21" fmla="*/ -2584 w 455007"/>
                <a:gd name="connsiteY21" fmla="*/ 208310 h 425856"/>
                <a:gd name="connsiteX22" fmla="*/ -2584 w 455007"/>
                <a:gd name="connsiteY22" fmla="*/ 213072 h 425856"/>
                <a:gd name="connsiteX23" fmla="*/ 2653 w 455007"/>
                <a:gd name="connsiteY23" fmla="*/ 213072 h 425856"/>
                <a:gd name="connsiteX24" fmla="*/ -2584 w 455007"/>
                <a:gd name="connsiteY24" fmla="*/ 213072 h 425856"/>
                <a:gd name="connsiteX25" fmla="*/ -2584 w 455007"/>
                <a:gd name="connsiteY25" fmla="*/ 217644 h 425856"/>
                <a:gd name="connsiteX26" fmla="*/ -2584 w 455007"/>
                <a:gd name="connsiteY26" fmla="*/ 217644 h 425856"/>
                <a:gd name="connsiteX27" fmla="*/ 24847 w 455007"/>
                <a:gd name="connsiteY27" fmla="*/ 337373 h 425856"/>
                <a:gd name="connsiteX28" fmla="*/ 104382 w 455007"/>
                <a:gd name="connsiteY28" fmla="*/ 405382 h 425856"/>
                <a:gd name="connsiteX29" fmla="*/ 227444 w 455007"/>
                <a:gd name="connsiteY29" fmla="*/ 425765 h 425856"/>
                <a:gd name="connsiteX30" fmla="*/ 343458 w 455007"/>
                <a:gd name="connsiteY30" fmla="*/ 411954 h 425856"/>
                <a:gd name="connsiteX31" fmla="*/ 418230 w 455007"/>
                <a:gd name="connsiteY31" fmla="*/ 366234 h 425856"/>
                <a:gd name="connsiteX32" fmla="*/ 452423 w 455007"/>
                <a:gd name="connsiteY32" fmla="*/ 280509 h 4258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455007" h="425856">
                  <a:moveTo>
                    <a:pt x="352792" y="281366"/>
                  </a:moveTo>
                  <a:cubicBezTo>
                    <a:pt x="351078" y="296387"/>
                    <a:pt x="344316" y="310399"/>
                    <a:pt x="333742" y="321181"/>
                  </a:cubicBezTo>
                  <a:cubicBezTo>
                    <a:pt x="322503" y="331382"/>
                    <a:pt x="308693" y="338335"/>
                    <a:pt x="293833" y="341279"/>
                  </a:cubicBezTo>
                  <a:cubicBezTo>
                    <a:pt x="272116" y="345517"/>
                    <a:pt x="250017" y="347489"/>
                    <a:pt x="227921" y="347184"/>
                  </a:cubicBezTo>
                  <a:cubicBezTo>
                    <a:pt x="204394" y="347594"/>
                    <a:pt x="180961" y="344184"/>
                    <a:pt x="158483" y="337088"/>
                  </a:cubicBezTo>
                  <a:cubicBezTo>
                    <a:pt x="140196" y="331087"/>
                    <a:pt x="124383" y="319152"/>
                    <a:pt x="113621" y="303179"/>
                  </a:cubicBezTo>
                  <a:cubicBezTo>
                    <a:pt x="102856" y="287177"/>
                    <a:pt x="97333" y="263936"/>
                    <a:pt x="97333" y="234218"/>
                  </a:cubicBezTo>
                  <a:lnTo>
                    <a:pt x="97333" y="192498"/>
                  </a:lnTo>
                  <a:cubicBezTo>
                    <a:pt x="97333" y="162780"/>
                    <a:pt x="102856" y="139539"/>
                    <a:pt x="113621" y="123537"/>
                  </a:cubicBezTo>
                  <a:cubicBezTo>
                    <a:pt x="124383" y="107564"/>
                    <a:pt x="140196" y="95629"/>
                    <a:pt x="158483" y="89628"/>
                  </a:cubicBezTo>
                  <a:cubicBezTo>
                    <a:pt x="180961" y="82484"/>
                    <a:pt x="204394" y="79075"/>
                    <a:pt x="227921" y="79532"/>
                  </a:cubicBezTo>
                  <a:cubicBezTo>
                    <a:pt x="250017" y="79179"/>
                    <a:pt x="272116" y="81151"/>
                    <a:pt x="293833" y="85437"/>
                  </a:cubicBezTo>
                  <a:cubicBezTo>
                    <a:pt x="308693" y="88380"/>
                    <a:pt x="322503" y="95334"/>
                    <a:pt x="333742" y="105535"/>
                  </a:cubicBezTo>
                  <a:cubicBezTo>
                    <a:pt x="344316" y="116317"/>
                    <a:pt x="351078" y="130329"/>
                    <a:pt x="352792" y="145349"/>
                  </a:cubicBezTo>
                  <a:lnTo>
                    <a:pt x="452423" y="145349"/>
                  </a:lnTo>
                  <a:cubicBezTo>
                    <a:pt x="450709" y="113812"/>
                    <a:pt x="438708" y="83713"/>
                    <a:pt x="418230" y="59624"/>
                  </a:cubicBezTo>
                  <a:cubicBezTo>
                    <a:pt x="398227" y="37546"/>
                    <a:pt x="372224" y="21705"/>
                    <a:pt x="343458" y="14000"/>
                  </a:cubicBezTo>
                  <a:cubicBezTo>
                    <a:pt x="305644" y="4018"/>
                    <a:pt x="266590" y="-669"/>
                    <a:pt x="227444" y="93"/>
                  </a:cubicBezTo>
                  <a:cubicBezTo>
                    <a:pt x="185535" y="-897"/>
                    <a:pt x="143719" y="6018"/>
                    <a:pt x="104382" y="20477"/>
                  </a:cubicBezTo>
                  <a:cubicBezTo>
                    <a:pt x="70854" y="33431"/>
                    <a:pt x="42753" y="57462"/>
                    <a:pt x="24847" y="88580"/>
                  </a:cubicBezTo>
                  <a:cubicBezTo>
                    <a:pt x="7225" y="118775"/>
                    <a:pt x="-2014" y="158970"/>
                    <a:pt x="-2584" y="208310"/>
                  </a:cubicBezTo>
                  <a:lnTo>
                    <a:pt x="-2584" y="208310"/>
                  </a:lnTo>
                  <a:lnTo>
                    <a:pt x="-2584" y="213072"/>
                  </a:lnTo>
                  <a:lnTo>
                    <a:pt x="2653" y="213072"/>
                  </a:lnTo>
                  <a:lnTo>
                    <a:pt x="-2584" y="213072"/>
                  </a:lnTo>
                  <a:lnTo>
                    <a:pt x="-2584" y="217644"/>
                  </a:lnTo>
                  <a:lnTo>
                    <a:pt x="-2584" y="217644"/>
                  </a:lnTo>
                  <a:cubicBezTo>
                    <a:pt x="-2014" y="266984"/>
                    <a:pt x="6941" y="307179"/>
                    <a:pt x="24847" y="337373"/>
                  </a:cubicBezTo>
                  <a:cubicBezTo>
                    <a:pt x="42753" y="368492"/>
                    <a:pt x="70854" y="392495"/>
                    <a:pt x="104382" y="405382"/>
                  </a:cubicBezTo>
                  <a:cubicBezTo>
                    <a:pt x="143719" y="419831"/>
                    <a:pt x="185535" y="426747"/>
                    <a:pt x="227444" y="425765"/>
                  </a:cubicBezTo>
                  <a:cubicBezTo>
                    <a:pt x="266590" y="426556"/>
                    <a:pt x="305644" y="421908"/>
                    <a:pt x="343458" y="411954"/>
                  </a:cubicBezTo>
                  <a:cubicBezTo>
                    <a:pt x="372319" y="404258"/>
                    <a:pt x="398227" y="388380"/>
                    <a:pt x="418230" y="366234"/>
                  </a:cubicBezTo>
                  <a:cubicBezTo>
                    <a:pt x="438612" y="342145"/>
                    <a:pt x="450709" y="312047"/>
                    <a:pt x="452423" y="280509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3200"/>
            </a:p>
          </p:txBody>
        </p:sp>
      </p:grpSp>
      <p:sp>
        <p:nvSpPr>
          <p:cNvPr id="16" name="Заголовок 1">
            <a:extLst>
              <a:ext uri="{FF2B5EF4-FFF2-40B4-BE49-F238E27FC236}">
                <a16:creationId xmlns:a16="http://schemas.microsoft.com/office/drawing/2014/main" id="{9ACC6046-582C-4E32-86EE-197149CAB7F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20726" y="4680001"/>
            <a:ext cx="10440000" cy="1234505"/>
          </a:xfrm>
          <a:prstGeom prst="rect">
            <a:avLst/>
          </a:prstGeom>
        </p:spPr>
        <p:txBody>
          <a:bodyPr vert="horz" wrap="square" lIns="0" tIns="0" rIns="0" bIns="0" anchor="b">
            <a:spAutoFit/>
          </a:bodyPr>
          <a:lstStyle>
            <a:lvl1pPr algn="l">
              <a:lnSpc>
                <a:spcPct val="80000"/>
              </a:lnSpc>
              <a:defRPr sz="5000" cap="all" baseline="0">
                <a:solidFill>
                  <a:schemeClr val="bg1"/>
                </a:solidFill>
                <a:latin typeface="+mj-lt"/>
                <a:ea typeface="MTS Extended Medium" panose="020B0306020102020303" pitchFamily="34" charset="0"/>
              </a:defRPr>
            </a:lvl1pPr>
          </a:lstStyle>
          <a:p>
            <a:r>
              <a:rPr lang="ru-RU" dirty="0"/>
              <a:t>Раздел</a:t>
            </a:r>
            <a:br>
              <a:rPr lang="ru-RU" dirty="0"/>
            </a:br>
            <a:r>
              <a:rPr lang="ru-RU" dirty="0"/>
              <a:t>презентации</a:t>
            </a:r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251CEA5F-45D3-4A38-A7B2-7C948199340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0726" y="6120001"/>
            <a:ext cx="10440001" cy="307777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bg1"/>
                </a:solidFill>
                <a:latin typeface="MTS Wide" panose="020B0306020102020303" pitchFamily="34" charset="0"/>
                <a:ea typeface="MTS Wide" panose="020B0306020102020303" pitchFamily="34" charset="0"/>
              </a:defRPr>
            </a:lvl1pPr>
            <a:lvl2pPr marL="457212" indent="0">
              <a:buNone/>
              <a:defRPr sz="1867"/>
            </a:lvl2pPr>
            <a:lvl3pPr marL="914423" indent="0">
              <a:buNone/>
              <a:defRPr sz="1867"/>
            </a:lvl3pPr>
            <a:lvl4pPr marL="1371635" indent="0">
              <a:buNone/>
              <a:defRPr sz="1867"/>
            </a:lvl4pPr>
            <a:lvl5pPr marL="1828845" indent="0">
              <a:buNone/>
              <a:defRPr sz="1867"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190D97D1-07AA-4FE5-A3CF-D706D175591E}"/>
              </a:ext>
            </a:extLst>
          </p:cNvPr>
          <p:cNvSpPr txBox="1"/>
          <p:nvPr/>
        </p:nvSpPr>
        <p:spPr>
          <a:xfrm>
            <a:off x="180000" y="179389"/>
            <a:ext cx="360000" cy="1077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fld id="{D4173914-8D64-4736-8A19-DA80CA0FDAB6}" type="slidenum">
              <a:rPr lang="ru-RU" sz="700" b="0" smtClean="0">
                <a:solidFill>
                  <a:srgbClr val="969FA8"/>
                </a:solidFill>
                <a:latin typeface="+mn-lt"/>
                <a:ea typeface="MTS Text Medium" panose="020B0306020102020303" pitchFamily="34" charset="0"/>
              </a:rPr>
              <a:pPr algn="l"/>
              <a:t>‹#›</a:t>
            </a:fld>
            <a:endParaRPr lang="ru-RU" sz="700" b="0" dirty="0">
              <a:solidFill>
                <a:srgbClr val="969FA8"/>
              </a:solidFill>
              <a:latin typeface="+mn-lt"/>
              <a:ea typeface="MTS Text Medium" panose="020B0306020102020303" pitchFamily="34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99FD636B-22FD-4469-987B-5327D928248B}"/>
              </a:ext>
            </a:extLst>
          </p:cNvPr>
          <p:cNvSpPr txBox="1"/>
          <p:nvPr/>
        </p:nvSpPr>
        <p:spPr>
          <a:xfrm>
            <a:off x="719999" y="180000"/>
            <a:ext cx="7200000" cy="21544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ru-RU" sz="700" cap="all" baseline="0" dirty="0">
                <a:solidFill>
                  <a:srgbClr val="969FA8"/>
                </a:solidFill>
              </a:rPr>
              <a:t>НЕ ПРЕДНАЗНАЧЕНО ДЛЯ ПОЛНОГО ИЛИ ЧАСТИЧНОГО ОБНАРОДОВАНИЯ И/ИЛИ РАСПРОСТРАНЕНИЯ! </a:t>
            </a:r>
          </a:p>
          <a:p>
            <a:r>
              <a:rPr lang="ru-RU" sz="700" cap="all" baseline="0" dirty="0">
                <a:solidFill>
                  <a:srgbClr val="969FA8"/>
                </a:solidFill>
              </a:rPr>
              <a:t>Передача этого документа или его части любым лицам или компаниям, не входящим в Группу МТС, строго запрещена!</a:t>
            </a: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C8A38996-8246-465B-BF17-1E7FACD8BA4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20725" y="1079501"/>
            <a:ext cx="4319588" cy="461665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000">
                <a:solidFill>
                  <a:srgbClr val="969FA8"/>
                </a:solidFill>
                <a:latin typeface="MTS Wide" panose="020B0306020102020303" pitchFamily="34" charset="0"/>
                <a:ea typeface="MTS Wide" panose="020B0306020102020303" pitchFamily="34" charset="0"/>
              </a:defRPr>
            </a:lvl1pPr>
            <a:lvl2pPr marL="457212" indent="0">
              <a:buNone/>
              <a:defRPr sz="1867"/>
            </a:lvl2pPr>
            <a:lvl3pPr marL="914423" indent="0">
              <a:buNone/>
              <a:defRPr sz="1867"/>
            </a:lvl3pPr>
            <a:lvl4pPr marL="1371635" indent="0">
              <a:buNone/>
              <a:defRPr sz="1867"/>
            </a:lvl4pPr>
            <a:lvl5pPr marL="1828845" indent="0">
              <a:buNone/>
              <a:defRPr sz="1867"/>
            </a:lvl5pPr>
          </a:lstStyle>
          <a:p>
            <a:pPr lvl="0"/>
            <a:r>
              <a:rPr lang="ru-RU" dirty="0"/>
              <a:t>00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7452825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EME / CONTENT">
    <p:bg>
      <p:bgPr>
        <a:solidFill>
          <a:srgbClr val="7A01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939C753-1782-4BD3-8356-A657C018F64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9" y="2119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6" name="think-cell Slide" r:id="rId4" imgW="359" imgH="367" progId="TCLayout.ActiveDocument.1">
                  <p:embed/>
                </p:oleObj>
              </mc:Choice>
              <mc:Fallback>
                <p:oleObj name="think-cell Slide" r:id="rId4" imgW="359" imgH="367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939C753-1782-4BD3-8356-A657C018F6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16ED118B-F8ED-4AC3-A2E3-5A7DD1D28CA0}"/>
              </a:ext>
            </a:extLst>
          </p:cNvPr>
          <p:cNvSpPr txBox="1"/>
          <p:nvPr/>
        </p:nvSpPr>
        <p:spPr>
          <a:xfrm>
            <a:off x="239185" y="5389993"/>
            <a:ext cx="11713632" cy="123123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indent="0" algn="l">
              <a:lnSpc>
                <a:spcPct val="80000"/>
              </a:lnSpc>
              <a:spcAft>
                <a:spcPts val="667"/>
              </a:spcAft>
              <a:buFont typeface="Arial" panose="020B0604020202020204" pitchFamily="34" charset="0"/>
              <a:buNone/>
            </a:pPr>
            <a:r>
              <a:rPr lang="ru-RU" sz="10001" dirty="0">
                <a:solidFill>
                  <a:schemeClr val="bg1"/>
                </a:solidFill>
                <a:latin typeface="+mj-lt"/>
              </a:rPr>
              <a:t>Контент</a:t>
            </a:r>
          </a:p>
        </p:txBody>
      </p:sp>
      <p:sp>
        <p:nvSpPr>
          <p:cNvPr id="6" name="Isosceles Triangle 5">
            <a:extLst>
              <a:ext uri="{FF2B5EF4-FFF2-40B4-BE49-F238E27FC236}">
                <a16:creationId xmlns:a16="http://schemas.microsoft.com/office/drawing/2014/main" id="{40A0FFC8-1A3A-48E8-807B-BDA7BB6F965D}"/>
              </a:ext>
            </a:extLst>
          </p:cNvPr>
          <p:cNvSpPr/>
          <p:nvPr/>
        </p:nvSpPr>
        <p:spPr>
          <a:xfrm rot="5400000">
            <a:off x="9239249" y="1799171"/>
            <a:ext cx="2880784" cy="1200151"/>
          </a:xfrm>
          <a:custGeom>
            <a:avLst/>
            <a:gdLst>
              <a:gd name="connsiteX0" fmla="*/ 0 w 1321800"/>
              <a:gd name="connsiteY0" fmla="*/ 1139483 h 1139483"/>
              <a:gd name="connsiteX1" fmla="*/ 660900 w 1321800"/>
              <a:gd name="connsiteY1" fmla="*/ 0 h 1139483"/>
              <a:gd name="connsiteX2" fmla="*/ 1321800 w 1321800"/>
              <a:gd name="connsiteY2" fmla="*/ 1139483 h 1139483"/>
              <a:gd name="connsiteX3" fmla="*/ 0 w 1321800"/>
              <a:gd name="connsiteY3" fmla="*/ 1139483 h 1139483"/>
              <a:gd name="connsiteX0" fmla="*/ 0 w 1321800"/>
              <a:gd name="connsiteY0" fmla="*/ 1139483 h 1161550"/>
              <a:gd name="connsiteX1" fmla="*/ 660900 w 1321800"/>
              <a:gd name="connsiteY1" fmla="*/ 0 h 1161550"/>
              <a:gd name="connsiteX2" fmla="*/ 1321800 w 1321800"/>
              <a:gd name="connsiteY2" fmla="*/ 1139483 h 1161550"/>
              <a:gd name="connsiteX3" fmla="*/ 646833 w 1321800"/>
              <a:gd name="connsiteY3" fmla="*/ 1161550 h 1161550"/>
              <a:gd name="connsiteX4" fmla="*/ 0 w 1321800"/>
              <a:gd name="connsiteY4" fmla="*/ 1139483 h 1161550"/>
              <a:gd name="connsiteX0" fmla="*/ 646833 w 1321800"/>
              <a:gd name="connsiteY0" fmla="*/ 1161550 h 1252990"/>
              <a:gd name="connsiteX1" fmla="*/ 0 w 1321800"/>
              <a:gd name="connsiteY1" fmla="*/ 1139483 h 1252990"/>
              <a:gd name="connsiteX2" fmla="*/ 660900 w 1321800"/>
              <a:gd name="connsiteY2" fmla="*/ 0 h 1252990"/>
              <a:gd name="connsiteX3" fmla="*/ 1321800 w 1321800"/>
              <a:gd name="connsiteY3" fmla="*/ 1139483 h 1252990"/>
              <a:gd name="connsiteX4" fmla="*/ 738273 w 1321800"/>
              <a:gd name="connsiteY4" fmla="*/ 1252990 h 1252990"/>
              <a:gd name="connsiteX0" fmla="*/ 646833 w 1321800"/>
              <a:gd name="connsiteY0" fmla="*/ 1161550 h 1161550"/>
              <a:gd name="connsiteX1" fmla="*/ 0 w 1321800"/>
              <a:gd name="connsiteY1" fmla="*/ 1139483 h 1161550"/>
              <a:gd name="connsiteX2" fmla="*/ 660900 w 1321800"/>
              <a:gd name="connsiteY2" fmla="*/ 0 h 1161550"/>
              <a:gd name="connsiteX3" fmla="*/ 1321800 w 1321800"/>
              <a:gd name="connsiteY3" fmla="*/ 1139483 h 1161550"/>
              <a:gd name="connsiteX0" fmla="*/ 0 w 1321800"/>
              <a:gd name="connsiteY0" fmla="*/ 1139483 h 1139483"/>
              <a:gd name="connsiteX1" fmla="*/ 660900 w 1321800"/>
              <a:gd name="connsiteY1" fmla="*/ 0 h 1139483"/>
              <a:gd name="connsiteX2" fmla="*/ 1321800 w 1321800"/>
              <a:gd name="connsiteY2" fmla="*/ 1139483 h 11394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321800" h="1139483">
                <a:moveTo>
                  <a:pt x="0" y="1139483"/>
                </a:moveTo>
                <a:lnTo>
                  <a:pt x="660900" y="0"/>
                </a:lnTo>
                <a:lnTo>
                  <a:pt x="1321800" y="1139483"/>
                </a:lnTo>
              </a:path>
            </a:pathLst>
          </a:custGeom>
          <a:noFill/>
          <a:ln w="2540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 sz="320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FAC22DBF-02DF-44CF-8711-532C1B122CC0}"/>
              </a:ext>
            </a:extLst>
          </p:cNvPr>
          <p:cNvCxnSpPr>
            <a:cxnSpLocks/>
            <a:endCxn id="6" idx="1"/>
          </p:cNvCxnSpPr>
          <p:nvPr/>
        </p:nvCxnSpPr>
        <p:spPr>
          <a:xfrm>
            <a:off x="7679268" y="2399246"/>
            <a:ext cx="3600451" cy="1"/>
          </a:xfrm>
          <a:prstGeom prst="line">
            <a:avLst/>
          </a:prstGeom>
          <a:noFill/>
          <a:ln w="2540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</p:spTree>
    <p:extLst>
      <p:ext uri="{BB962C8B-B14F-4D97-AF65-F5344CB8AC3E}">
        <p14:creationId xmlns:p14="http://schemas.microsoft.com/office/powerpoint/2010/main" val="186745303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нтент / Просторны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F20D7CC-5B0D-4541-A23D-43233DB0086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9" y="2119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0" name="think-cell Slide" r:id="rId4" imgW="359" imgH="367" progId="TCLayout.ActiveDocument.1">
                  <p:embed/>
                </p:oleObj>
              </mc:Choice>
              <mc:Fallback>
                <p:oleObj name="think-cell Slide" r:id="rId4" imgW="359" imgH="367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F20D7CC-5B0D-4541-A23D-43233DB008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FD7BF56-CDBB-461E-880E-21F5C33B4B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0001" y="900001"/>
            <a:ext cx="10980125" cy="443199"/>
          </a:xfrm>
          <a:prstGeom prst="rect">
            <a:avLst/>
          </a:prstGeom>
        </p:spPr>
        <p:txBody>
          <a:bodyPr vert="horz" wrap="square" lIns="0" tIns="0" rIns="0" bIns="0">
            <a:spAutoFit/>
          </a:bodyPr>
          <a:lstStyle>
            <a:lvl1pPr>
              <a:lnSpc>
                <a:spcPct val="90000"/>
              </a:lnSpc>
              <a:defRPr sz="3200">
                <a:solidFill>
                  <a:schemeClr val="tx1"/>
                </a:solidFill>
                <a:latin typeface="MTS Extended Medium" panose="020B0306020102020303" pitchFamily="34" charset="0"/>
                <a:ea typeface="MTS Extended Medium" panose="020B03060201020203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ru-RU" dirty="0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1F7527AC-B804-43D1-9EE7-6DF696953F1F}"/>
              </a:ext>
            </a:extLst>
          </p:cNvPr>
          <p:cNvGrpSpPr>
            <a:grpSpLocks noChangeAspect="1"/>
          </p:cNvGrpSpPr>
          <p:nvPr/>
        </p:nvGrpSpPr>
        <p:grpSpPr>
          <a:xfrm>
            <a:off x="11471277" y="1"/>
            <a:ext cx="720724" cy="720724"/>
            <a:chOff x="3108325" y="923925"/>
            <a:chExt cx="1769268" cy="1769268"/>
          </a:xfrm>
        </p:grpSpPr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71B6031A-3934-48CF-BC18-02DF36B23B30}"/>
                </a:ext>
              </a:extLst>
            </p:cNvPr>
            <p:cNvSpPr/>
            <p:nvPr/>
          </p:nvSpPr>
          <p:spPr>
            <a:xfrm>
              <a:off x="3108325" y="923925"/>
              <a:ext cx="1769268" cy="1769268"/>
            </a:xfrm>
            <a:custGeom>
              <a:avLst/>
              <a:gdLst>
                <a:gd name="connsiteX0" fmla="*/ 0 w 1769268"/>
                <a:gd name="connsiteY0" fmla="*/ 0 h 1769268"/>
                <a:gd name="connsiteX1" fmla="*/ 1769269 w 1769268"/>
                <a:gd name="connsiteY1" fmla="*/ 0 h 1769268"/>
                <a:gd name="connsiteX2" fmla="*/ 1769269 w 1769268"/>
                <a:gd name="connsiteY2" fmla="*/ 1769269 h 1769268"/>
                <a:gd name="connsiteX3" fmla="*/ 0 w 1769268"/>
                <a:gd name="connsiteY3" fmla="*/ 1769269 h 17692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69268" h="1769268">
                  <a:moveTo>
                    <a:pt x="0" y="0"/>
                  </a:moveTo>
                  <a:lnTo>
                    <a:pt x="1769269" y="0"/>
                  </a:lnTo>
                  <a:lnTo>
                    <a:pt x="1769269" y="1769269"/>
                  </a:lnTo>
                  <a:lnTo>
                    <a:pt x="0" y="1769269"/>
                  </a:lnTo>
                  <a:close/>
                </a:path>
              </a:pathLst>
            </a:custGeom>
            <a:solidFill>
              <a:srgbClr val="FF003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3200"/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18E25CF4-F85D-4478-BC1D-4B10B176052D}"/>
                </a:ext>
              </a:extLst>
            </p:cNvPr>
            <p:cNvSpPr/>
            <p:nvPr/>
          </p:nvSpPr>
          <p:spPr>
            <a:xfrm>
              <a:off x="4287041" y="1058797"/>
              <a:ext cx="455198" cy="410716"/>
            </a:xfrm>
            <a:custGeom>
              <a:avLst/>
              <a:gdLst>
                <a:gd name="connsiteX0" fmla="*/ 0 w 455199"/>
                <a:gd name="connsiteY0" fmla="*/ 0 h 410717"/>
                <a:gd name="connsiteX1" fmla="*/ 0 w 455199"/>
                <a:gd name="connsiteY1" fmla="*/ 82487 h 410717"/>
                <a:gd name="connsiteX2" fmla="*/ 177832 w 455199"/>
                <a:gd name="connsiteY2" fmla="*/ 82487 h 410717"/>
                <a:gd name="connsiteX3" fmla="*/ 177832 w 455199"/>
                <a:gd name="connsiteY3" fmla="*/ 405479 h 410717"/>
                <a:gd name="connsiteX4" fmla="*/ 177927 w 455199"/>
                <a:gd name="connsiteY4" fmla="*/ 410718 h 410717"/>
                <a:gd name="connsiteX5" fmla="*/ 277463 w 455199"/>
                <a:gd name="connsiteY5" fmla="*/ 410718 h 410717"/>
                <a:gd name="connsiteX6" fmla="*/ 277463 w 455199"/>
                <a:gd name="connsiteY6" fmla="*/ 82487 h 410717"/>
                <a:gd name="connsiteX7" fmla="*/ 455200 w 455199"/>
                <a:gd name="connsiteY7" fmla="*/ 82487 h 410717"/>
                <a:gd name="connsiteX8" fmla="*/ 455200 w 455199"/>
                <a:gd name="connsiteY8" fmla="*/ 0 h 410717"/>
                <a:gd name="connsiteX9" fmla="*/ 0 w 455199"/>
                <a:gd name="connsiteY9" fmla="*/ 0 h 410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55199" h="410717">
                  <a:moveTo>
                    <a:pt x="0" y="0"/>
                  </a:moveTo>
                  <a:lnTo>
                    <a:pt x="0" y="82487"/>
                  </a:lnTo>
                  <a:lnTo>
                    <a:pt x="177832" y="82487"/>
                  </a:lnTo>
                  <a:lnTo>
                    <a:pt x="177832" y="405479"/>
                  </a:lnTo>
                  <a:lnTo>
                    <a:pt x="177927" y="410718"/>
                  </a:lnTo>
                  <a:lnTo>
                    <a:pt x="277463" y="410718"/>
                  </a:lnTo>
                  <a:lnTo>
                    <a:pt x="277463" y="82487"/>
                  </a:lnTo>
                  <a:lnTo>
                    <a:pt x="455200" y="82487"/>
                  </a:lnTo>
                  <a:lnTo>
                    <a:pt x="45520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3200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C12DADB6-FFD2-4A10-BD49-79F9BE53E154}"/>
                </a:ext>
              </a:extLst>
            </p:cNvPr>
            <p:cNvSpPr/>
            <p:nvPr/>
          </p:nvSpPr>
          <p:spPr>
            <a:xfrm>
              <a:off x="3244532" y="1060037"/>
              <a:ext cx="544163" cy="408336"/>
            </a:xfrm>
            <a:custGeom>
              <a:avLst/>
              <a:gdLst>
                <a:gd name="connsiteX0" fmla="*/ 402146 w 544163"/>
                <a:gd name="connsiteY0" fmla="*/ 0 h 408336"/>
                <a:gd name="connsiteX1" fmla="*/ 272129 w 544163"/>
                <a:gd name="connsiteY1" fmla="*/ 270034 h 408336"/>
                <a:gd name="connsiteX2" fmla="*/ 142018 w 544163"/>
                <a:gd name="connsiteY2" fmla="*/ 0 h 408336"/>
                <a:gd name="connsiteX3" fmla="*/ 0 w 544163"/>
                <a:gd name="connsiteY3" fmla="*/ 0 h 408336"/>
                <a:gd name="connsiteX4" fmla="*/ 0 w 544163"/>
                <a:gd name="connsiteY4" fmla="*/ 408337 h 408336"/>
                <a:gd name="connsiteX5" fmla="*/ 99536 w 544163"/>
                <a:gd name="connsiteY5" fmla="*/ 408337 h 408336"/>
                <a:gd name="connsiteX6" fmla="*/ 99536 w 544163"/>
                <a:gd name="connsiteY6" fmla="*/ 116110 h 408336"/>
                <a:gd name="connsiteX7" fmla="*/ 226695 w 544163"/>
                <a:gd name="connsiteY7" fmla="*/ 362903 h 408336"/>
                <a:gd name="connsiteX8" fmla="*/ 317468 w 544163"/>
                <a:gd name="connsiteY8" fmla="*/ 362903 h 408336"/>
                <a:gd name="connsiteX9" fmla="*/ 444627 w 544163"/>
                <a:gd name="connsiteY9" fmla="*/ 116110 h 408336"/>
                <a:gd name="connsiteX10" fmla="*/ 444627 w 544163"/>
                <a:gd name="connsiteY10" fmla="*/ 408337 h 408336"/>
                <a:gd name="connsiteX11" fmla="*/ 544163 w 544163"/>
                <a:gd name="connsiteY11" fmla="*/ 408337 h 408336"/>
                <a:gd name="connsiteX12" fmla="*/ 544163 w 544163"/>
                <a:gd name="connsiteY12" fmla="*/ 0 h 408336"/>
                <a:gd name="connsiteX13" fmla="*/ 402146 w 544163"/>
                <a:gd name="connsiteY13" fmla="*/ 0 h 4083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44163" h="408336">
                  <a:moveTo>
                    <a:pt x="402146" y="0"/>
                  </a:moveTo>
                  <a:lnTo>
                    <a:pt x="272129" y="270034"/>
                  </a:lnTo>
                  <a:lnTo>
                    <a:pt x="142018" y="0"/>
                  </a:lnTo>
                  <a:lnTo>
                    <a:pt x="0" y="0"/>
                  </a:lnTo>
                  <a:lnTo>
                    <a:pt x="0" y="408337"/>
                  </a:lnTo>
                  <a:lnTo>
                    <a:pt x="99536" y="408337"/>
                  </a:lnTo>
                  <a:lnTo>
                    <a:pt x="99536" y="116110"/>
                  </a:lnTo>
                  <a:lnTo>
                    <a:pt x="226695" y="362903"/>
                  </a:lnTo>
                  <a:lnTo>
                    <a:pt x="317468" y="362903"/>
                  </a:lnTo>
                  <a:lnTo>
                    <a:pt x="444627" y="116110"/>
                  </a:lnTo>
                  <a:lnTo>
                    <a:pt x="444627" y="408337"/>
                  </a:lnTo>
                  <a:lnTo>
                    <a:pt x="544163" y="408337"/>
                  </a:lnTo>
                  <a:lnTo>
                    <a:pt x="544163" y="0"/>
                  </a:lnTo>
                  <a:lnTo>
                    <a:pt x="402146" y="0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3200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F8AA22D2-97F3-4B27-8C69-CACD0953EFBF}"/>
                </a:ext>
              </a:extLst>
            </p:cNvPr>
            <p:cNvSpPr/>
            <p:nvPr/>
          </p:nvSpPr>
          <p:spPr>
            <a:xfrm>
              <a:off x="4287140" y="2139602"/>
              <a:ext cx="455007" cy="425856"/>
            </a:xfrm>
            <a:custGeom>
              <a:avLst/>
              <a:gdLst>
                <a:gd name="connsiteX0" fmla="*/ 352792 w 455007"/>
                <a:gd name="connsiteY0" fmla="*/ 281366 h 425856"/>
                <a:gd name="connsiteX1" fmla="*/ 333742 w 455007"/>
                <a:gd name="connsiteY1" fmla="*/ 321181 h 425856"/>
                <a:gd name="connsiteX2" fmla="*/ 293833 w 455007"/>
                <a:gd name="connsiteY2" fmla="*/ 341279 h 425856"/>
                <a:gd name="connsiteX3" fmla="*/ 227921 w 455007"/>
                <a:gd name="connsiteY3" fmla="*/ 347184 h 425856"/>
                <a:gd name="connsiteX4" fmla="*/ 158483 w 455007"/>
                <a:gd name="connsiteY4" fmla="*/ 337088 h 425856"/>
                <a:gd name="connsiteX5" fmla="*/ 113621 w 455007"/>
                <a:gd name="connsiteY5" fmla="*/ 303179 h 425856"/>
                <a:gd name="connsiteX6" fmla="*/ 97333 w 455007"/>
                <a:gd name="connsiteY6" fmla="*/ 234218 h 425856"/>
                <a:gd name="connsiteX7" fmla="*/ 97333 w 455007"/>
                <a:gd name="connsiteY7" fmla="*/ 192498 h 425856"/>
                <a:gd name="connsiteX8" fmla="*/ 113621 w 455007"/>
                <a:gd name="connsiteY8" fmla="*/ 123537 h 425856"/>
                <a:gd name="connsiteX9" fmla="*/ 158483 w 455007"/>
                <a:gd name="connsiteY9" fmla="*/ 89628 h 425856"/>
                <a:gd name="connsiteX10" fmla="*/ 227921 w 455007"/>
                <a:gd name="connsiteY10" fmla="*/ 79532 h 425856"/>
                <a:gd name="connsiteX11" fmla="*/ 293833 w 455007"/>
                <a:gd name="connsiteY11" fmla="*/ 85437 h 425856"/>
                <a:gd name="connsiteX12" fmla="*/ 333742 w 455007"/>
                <a:gd name="connsiteY12" fmla="*/ 105535 h 425856"/>
                <a:gd name="connsiteX13" fmla="*/ 352792 w 455007"/>
                <a:gd name="connsiteY13" fmla="*/ 145349 h 425856"/>
                <a:gd name="connsiteX14" fmla="*/ 452423 w 455007"/>
                <a:gd name="connsiteY14" fmla="*/ 145349 h 425856"/>
                <a:gd name="connsiteX15" fmla="*/ 418230 w 455007"/>
                <a:gd name="connsiteY15" fmla="*/ 59624 h 425856"/>
                <a:gd name="connsiteX16" fmla="*/ 343458 w 455007"/>
                <a:gd name="connsiteY16" fmla="*/ 14000 h 425856"/>
                <a:gd name="connsiteX17" fmla="*/ 227444 w 455007"/>
                <a:gd name="connsiteY17" fmla="*/ 93 h 425856"/>
                <a:gd name="connsiteX18" fmla="*/ 104382 w 455007"/>
                <a:gd name="connsiteY18" fmla="*/ 20477 h 425856"/>
                <a:gd name="connsiteX19" fmla="*/ 24847 w 455007"/>
                <a:gd name="connsiteY19" fmla="*/ 88580 h 425856"/>
                <a:gd name="connsiteX20" fmla="*/ -2584 w 455007"/>
                <a:gd name="connsiteY20" fmla="*/ 208310 h 425856"/>
                <a:gd name="connsiteX21" fmla="*/ -2584 w 455007"/>
                <a:gd name="connsiteY21" fmla="*/ 208310 h 425856"/>
                <a:gd name="connsiteX22" fmla="*/ -2584 w 455007"/>
                <a:gd name="connsiteY22" fmla="*/ 213072 h 425856"/>
                <a:gd name="connsiteX23" fmla="*/ 2653 w 455007"/>
                <a:gd name="connsiteY23" fmla="*/ 213072 h 425856"/>
                <a:gd name="connsiteX24" fmla="*/ -2584 w 455007"/>
                <a:gd name="connsiteY24" fmla="*/ 213072 h 425856"/>
                <a:gd name="connsiteX25" fmla="*/ -2584 w 455007"/>
                <a:gd name="connsiteY25" fmla="*/ 217644 h 425856"/>
                <a:gd name="connsiteX26" fmla="*/ -2584 w 455007"/>
                <a:gd name="connsiteY26" fmla="*/ 217644 h 425856"/>
                <a:gd name="connsiteX27" fmla="*/ 24847 w 455007"/>
                <a:gd name="connsiteY27" fmla="*/ 337373 h 425856"/>
                <a:gd name="connsiteX28" fmla="*/ 104382 w 455007"/>
                <a:gd name="connsiteY28" fmla="*/ 405382 h 425856"/>
                <a:gd name="connsiteX29" fmla="*/ 227444 w 455007"/>
                <a:gd name="connsiteY29" fmla="*/ 425765 h 425856"/>
                <a:gd name="connsiteX30" fmla="*/ 343458 w 455007"/>
                <a:gd name="connsiteY30" fmla="*/ 411954 h 425856"/>
                <a:gd name="connsiteX31" fmla="*/ 418230 w 455007"/>
                <a:gd name="connsiteY31" fmla="*/ 366234 h 425856"/>
                <a:gd name="connsiteX32" fmla="*/ 452423 w 455007"/>
                <a:gd name="connsiteY32" fmla="*/ 280509 h 4258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455007" h="425856">
                  <a:moveTo>
                    <a:pt x="352792" y="281366"/>
                  </a:moveTo>
                  <a:cubicBezTo>
                    <a:pt x="351078" y="296387"/>
                    <a:pt x="344316" y="310399"/>
                    <a:pt x="333742" y="321181"/>
                  </a:cubicBezTo>
                  <a:cubicBezTo>
                    <a:pt x="322503" y="331382"/>
                    <a:pt x="308693" y="338335"/>
                    <a:pt x="293833" y="341279"/>
                  </a:cubicBezTo>
                  <a:cubicBezTo>
                    <a:pt x="272116" y="345517"/>
                    <a:pt x="250017" y="347489"/>
                    <a:pt x="227921" y="347184"/>
                  </a:cubicBezTo>
                  <a:cubicBezTo>
                    <a:pt x="204394" y="347594"/>
                    <a:pt x="180961" y="344184"/>
                    <a:pt x="158483" y="337088"/>
                  </a:cubicBezTo>
                  <a:cubicBezTo>
                    <a:pt x="140196" y="331087"/>
                    <a:pt x="124383" y="319152"/>
                    <a:pt x="113621" y="303179"/>
                  </a:cubicBezTo>
                  <a:cubicBezTo>
                    <a:pt x="102856" y="287177"/>
                    <a:pt x="97333" y="263936"/>
                    <a:pt x="97333" y="234218"/>
                  </a:cubicBezTo>
                  <a:lnTo>
                    <a:pt x="97333" y="192498"/>
                  </a:lnTo>
                  <a:cubicBezTo>
                    <a:pt x="97333" y="162780"/>
                    <a:pt x="102856" y="139539"/>
                    <a:pt x="113621" y="123537"/>
                  </a:cubicBezTo>
                  <a:cubicBezTo>
                    <a:pt x="124383" y="107564"/>
                    <a:pt x="140196" y="95629"/>
                    <a:pt x="158483" y="89628"/>
                  </a:cubicBezTo>
                  <a:cubicBezTo>
                    <a:pt x="180961" y="82484"/>
                    <a:pt x="204394" y="79075"/>
                    <a:pt x="227921" y="79532"/>
                  </a:cubicBezTo>
                  <a:cubicBezTo>
                    <a:pt x="250017" y="79179"/>
                    <a:pt x="272116" y="81151"/>
                    <a:pt x="293833" y="85437"/>
                  </a:cubicBezTo>
                  <a:cubicBezTo>
                    <a:pt x="308693" y="88380"/>
                    <a:pt x="322503" y="95334"/>
                    <a:pt x="333742" y="105535"/>
                  </a:cubicBezTo>
                  <a:cubicBezTo>
                    <a:pt x="344316" y="116317"/>
                    <a:pt x="351078" y="130329"/>
                    <a:pt x="352792" y="145349"/>
                  </a:cubicBezTo>
                  <a:lnTo>
                    <a:pt x="452423" y="145349"/>
                  </a:lnTo>
                  <a:cubicBezTo>
                    <a:pt x="450709" y="113812"/>
                    <a:pt x="438708" y="83713"/>
                    <a:pt x="418230" y="59624"/>
                  </a:cubicBezTo>
                  <a:cubicBezTo>
                    <a:pt x="398227" y="37546"/>
                    <a:pt x="372224" y="21705"/>
                    <a:pt x="343458" y="14000"/>
                  </a:cubicBezTo>
                  <a:cubicBezTo>
                    <a:pt x="305644" y="4018"/>
                    <a:pt x="266590" y="-669"/>
                    <a:pt x="227444" y="93"/>
                  </a:cubicBezTo>
                  <a:cubicBezTo>
                    <a:pt x="185535" y="-897"/>
                    <a:pt x="143719" y="6018"/>
                    <a:pt x="104382" y="20477"/>
                  </a:cubicBezTo>
                  <a:cubicBezTo>
                    <a:pt x="70854" y="33431"/>
                    <a:pt x="42753" y="57462"/>
                    <a:pt x="24847" y="88580"/>
                  </a:cubicBezTo>
                  <a:cubicBezTo>
                    <a:pt x="7225" y="118775"/>
                    <a:pt x="-2014" y="158970"/>
                    <a:pt x="-2584" y="208310"/>
                  </a:cubicBezTo>
                  <a:lnTo>
                    <a:pt x="-2584" y="208310"/>
                  </a:lnTo>
                  <a:lnTo>
                    <a:pt x="-2584" y="213072"/>
                  </a:lnTo>
                  <a:lnTo>
                    <a:pt x="2653" y="213072"/>
                  </a:lnTo>
                  <a:lnTo>
                    <a:pt x="-2584" y="213072"/>
                  </a:lnTo>
                  <a:lnTo>
                    <a:pt x="-2584" y="217644"/>
                  </a:lnTo>
                  <a:lnTo>
                    <a:pt x="-2584" y="217644"/>
                  </a:lnTo>
                  <a:cubicBezTo>
                    <a:pt x="-2014" y="266984"/>
                    <a:pt x="6941" y="307179"/>
                    <a:pt x="24847" y="337373"/>
                  </a:cubicBezTo>
                  <a:cubicBezTo>
                    <a:pt x="42753" y="368492"/>
                    <a:pt x="70854" y="392495"/>
                    <a:pt x="104382" y="405382"/>
                  </a:cubicBezTo>
                  <a:cubicBezTo>
                    <a:pt x="143719" y="419831"/>
                    <a:pt x="185535" y="426747"/>
                    <a:pt x="227444" y="425765"/>
                  </a:cubicBezTo>
                  <a:cubicBezTo>
                    <a:pt x="266590" y="426556"/>
                    <a:pt x="305644" y="421908"/>
                    <a:pt x="343458" y="411954"/>
                  </a:cubicBezTo>
                  <a:cubicBezTo>
                    <a:pt x="372319" y="404258"/>
                    <a:pt x="398227" y="388380"/>
                    <a:pt x="418230" y="366234"/>
                  </a:cubicBezTo>
                  <a:cubicBezTo>
                    <a:pt x="438612" y="342145"/>
                    <a:pt x="450709" y="312047"/>
                    <a:pt x="452423" y="280509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3200"/>
            </a:p>
          </p:txBody>
        </p:sp>
      </p:grp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8590D5E1-3BE5-4A24-ACD5-D74B590336E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80001" y="180001"/>
            <a:ext cx="10980125" cy="221599"/>
          </a:xfrm>
          <a:prstGeom prst="rect">
            <a:avLst/>
          </a:prstGeom>
        </p:spPr>
        <p:txBody>
          <a:bodyPr vert="horz" wrap="square" lIns="0" tIns="0" rIns="0" bIns="0">
            <a:spAutoFit/>
          </a:bodyPr>
          <a:lstStyle>
            <a:lvl1pPr marL="0" indent="0">
              <a:buNone/>
              <a:defRPr lang="en-US" sz="1600" cap="all" spc="67" baseline="0" dirty="0" smtClean="0">
                <a:solidFill>
                  <a:srgbClr val="BBC1C7"/>
                </a:solidFill>
                <a:latin typeface="MTS Extended Medium" panose="020B0306020102020303" pitchFamily="34" charset="0"/>
                <a:ea typeface="MTS Extended Medium" panose="020B0306020102020303" pitchFamily="34" charset="0"/>
                <a:cs typeface="+mj-cs"/>
              </a:defRPr>
            </a:lvl1pPr>
          </a:lstStyle>
          <a:p>
            <a:pPr marL="228605" lvl="0" indent="-228605">
              <a:spcBef>
                <a:spcPct val="0"/>
              </a:spcBef>
            </a:pPr>
            <a:r>
              <a:rPr lang="en-US"/>
              <a:t>Edit Master text styles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9593DB88-C5E0-4C8B-94AC-CEDD64B61836}"/>
              </a:ext>
            </a:extLst>
          </p:cNvPr>
          <p:cNvSpPr txBox="1"/>
          <p:nvPr/>
        </p:nvSpPr>
        <p:spPr>
          <a:xfrm>
            <a:off x="180000" y="6528002"/>
            <a:ext cx="461856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fld id="{D4173914-8D64-4736-8A19-DA80CA0FDAB6}" type="slidenum">
              <a:rPr lang="ru-RU" sz="800" b="0" smtClean="0">
                <a:solidFill>
                  <a:srgbClr val="BBC1C7"/>
                </a:solidFill>
                <a:latin typeface="MTS Text" panose="020B0306020102020303" pitchFamily="34" charset="0"/>
                <a:ea typeface="MTS Text" panose="020B0306020102020303" pitchFamily="34" charset="0"/>
              </a:rPr>
              <a:pPr algn="l"/>
              <a:t>‹#›</a:t>
            </a:fld>
            <a:endParaRPr lang="ru-RU" sz="800" b="0" dirty="0">
              <a:solidFill>
                <a:srgbClr val="BBC1C7"/>
              </a:solidFill>
              <a:latin typeface="MTS Text" panose="020B0306020102020303" pitchFamily="34" charset="0"/>
              <a:ea typeface="MTS Text" panose="020B0306020102020303" pitchFamily="34" charset="0"/>
            </a:endParaRP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81779D42-63A2-481C-A900-82FE0FF89D0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19669" y="6538260"/>
            <a:ext cx="11233149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700"/>
            </a:lvl1pPr>
            <a:lvl2pPr marL="457212" indent="0">
              <a:lnSpc>
                <a:spcPct val="100000"/>
              </a:lnSpc>
              <a:spcBef>
                <a:spcPts val="0"/>
              </a:spcBef>
              <a:buNone/>
              <a:defRPr sz="667"/>
            </a:lvl2pPr>
            <a:lvl3pPr marL="914423" indent="0">
              <a:lnSpc>
                <a:spcPct val="100000"/>
              </a:lnSpc>
              <a:spcBef>
                <a:spcPts val="0"/>
              </a:spcBef>
              <a:buNone/>
              <a:defRPr sz="667"/>
            </a:lvl3pPr>
            <a:lvl4pPr marL="1371635" indent="0">
              <a:lnSpc>
                <a:spcPct val="100000"/>
              </a:lnSpc>
              <a:spcBef>
                <a:spcPts val="0"/>
              </a:spcBef>
              <a:buNone/>
              <a:defRPr sz="667"/>
            </a:lvl4pPr>
            <a:lvl5pPr marL="1828845" indent="0">
              <a:lnSpc>
                <a:spcPct val="100000"/>
              </a:lnSpc>
              <a:spcBef>
                <a:spcPts val="0"/>
              </a:spcBef>
              <a:buNone/>
              <a:defRPr sz="667"/>
            </a:lvl5pPr>
          </a:lstStyle>
          <a:p>
            <a:pPr lvl="0"/>
            <a:r>
              <a:rPr lang="ru-RU" dirty="0"/>
              <a:t>Ссылки и примечания</a:t>
            </a:r>
          </a:p>
        </p:txBody>
      </p:sp>
    </p:spTree>
    <p:extLst>
      <p:ext uri="{BB962C8B-B14F-4D97-AF65-F5344CB8AC3E}">
        <p14:creationId xmlns:p14="http://schemas.microsoft.com/office/powerpoint/2010/main" val="54534472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Простой / Компактны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F20D7CC-5B0D-4541-A23D-43233DB0086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9" y="2119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4" name="think-cell Slide" r:id="rId4" imgW="359" imgH="367" progId="TCLayout.ActiveDocument.1">
                  <p:embed/>
                </p:oleObj>
              </mc:Choice>
              <mc:Fallback>
                <p:oleObj name="think-cell Slide" r:id="rId4" imgW="359" imgH="367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F20D7CC-5B0D-4541-A23D-43233DB008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FD7BF56-CDBB-461E-880E-21F5C33B4B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0000" y="180000"/>
            <a:ext cx="10980126" cy="258532"/>
          </a:xfrm>
          <a:prstGeom prst="rect">
            <a:avLst/>
          </a:prstGeom>
        </p:spPr>
        <p:txBody>
          <a:bodyPr vert="horz" wrap="square" lIns="0" tIns="0" rIns="0" bIns="0">
            <a:spAutoFit/>
          </a:bodyPr>
          <a:lstStyle>
            <a:lvl1pPr>
              <a:lnSpc>
                <a:spcPct val="90000"/>
              </a:lnSpc>
              <a:defRPr sz="1800" cap="none" spc="0" baseline="0">
                <a:solidFill>
                  <a:schemeClr val="tx1"/>
                </a:solidFill>
                <a:latin typeface="MTS Extended Medium" panose="020B0306020102020303" pitchFamily="34" charset="0"/>
                <a:ea typeface="MTS Extended Medium" panose="020B03060201020203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ru-RU" dirty="0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1F7527AC-B804-43D1-9EE7-6DF696953F1F}"/>
              </a:ext>
            </a:extLst>
          </p:cNvPr>
          <p:cNvGrpSpPr>
            <a:grpSpLocks noChangeAspect="1"/>
          </p:cNvGrpSpPr>
          <p:nvPr/>
        </p:nvGrpSpPr>
        <p:grpSpPr>
          <a:xfrm>
            <a:off x="11471277" y="1"/>
            <a:ext cx="720724" cy="720724"/>
            <a:chOff x="3108325" y="923925"/>
            <a:chExt cx="1769268" cy="1769268"/>
          </a:xfrm>
        </p:grpSpPr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71B6031A-3934-48CF-BC18-02DF36B23B30}"/>
                </a:ext>
              </a:extLst>
            </p:cNvPr>
            <p:cNvSpPr/>
            <p:nvPr/>
          </p:nvSpPr>
          <p:spPr>
            <a:xfrm>
              <a:off x="3108325" y="923925"/>
              <a:ext cx="1769268" cy="1769268"/>
            </a:xfrm>
            <a:custGeom>
              <a:avLst/>
              <a:gdLst>
                <a:gd name="connsiteX0" fmla="*/ 0 w 1769268"/>
                <a:gd name="connsiteY0" fmla="*/ 0 h 1769268"/>
                <a:gd name="connsiteX1" fmla="*/ 1769269 w 1769268"/>
                <a:gd name="connsiteY1" fmla="*/ 0 h 1769268"/>
                <a:gd name="connsiteX2" fmla="*/ 1769269 w 1769268"/>
                <a:gd name="connsiteY2" fmla="*/ 1769269 h 1769268"/>
                <a:gd name="connsiteX3" fmla="*/ 0 w 1769268"/>
                <a:gd name="connsiteY3" fmla="*/ 1769269 h 17692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69268" h="1769268">
                  <a:moveTo>
                    <a:pt x="0" y="0"/>
                  </a:moveTo>
                  <a:lnTo>
                    <a:pt x="1769269" y="0"/>
                  </a:lnTo>
                  <a:lnTo>
                    <a:pt x="1769269" y="1769269"/>
                  </a:lnTo>
                  <a:lnTo>
                    <a:pt x="0" y="1769269"/>
                  </a:lnTo>
                  <a:close/>
                </a:path>
              </a:pathLst>
            </a:custGeom>
            <a:solidFill>
              <a:srgbClr val="FF003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3200"/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18E25CF4-F85D-4478-BC1D-4B10B176052D}"/>
                </a:ext>
              </a:extLst>
            </p:cNvPr>
            <p:cNvSpPr/>
            <p:nvPr/>
          </p:nvSpPr>
          <p:spPr>
            <a:xfrm>
              <a:off x="4287041" y="1058797"/>
              <a:ext cx="455198" cy="410716"/>
            </a:xfrm>
            <a:custGeom>
              <a:avLst/>
              <a:gdLst>
                <a:gd name="connsiteX0" fmla="*/ 0 w 455199"/>
                <a:gd name="connsiteY0" fmla="*/ 0 h 410717"/>
                <a:gd name="connsiteX1" fmla="*/ 0 w 455199"/>
                <a:gd name="connsiteY1" fmla="*/ 82487 h 410717"/>
                <a:gd name="connsiteX2" fmla="*/ 177832 w 455199"/>
                <a:gd name="connsiteY2" fmla="*/ 82487 h 410717"/>
                <a:gd name="connsiteX3" fmla="*/ 177832 w 455199"/>
                <a:gd name="connsiteY3" fmla="*/ 405479 h 410717"/>
                <a:gd name="connsiteX4" fmla="*/ 177927 w 455199"/>
                <a:gd name="connsiteY4" fmla="*/ 410718 h 410717"/>
                <a:gd name="connsiteX5" fmla="*/ 277463 w 455199"/>
                <a:gd name="connsiteY5" fmla="*/ 410718 h 410717"/>
                <a:gd name="connsiteX6" fmla="*/ 277463 w 455199"/>
                <a:gd name="connsiteY6" fmla="*/ 82487 h 410717"/>
                <a:gd name="connsiteX7" fmla="*/ 455200 w 455199"/>
                <a:gd name="connsiteY7" fmla="*/ 82487 h 410717"/>
                <a:gd name="connsiteX8" fmla="*/ 455200 w 455199"/>
                <a:gd name="connsiteY8" fmla="*/ 0 h 410717"/>
                <a:gd name="connsiteX9" fmla="*/ 0 w 455199"/>
                <a:gd name="connsiteY9" fmla="*/ 0 h 410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55199" h="410717">
                  <a:moveTo>
                    <a:pt x="0" y="0"/>
                  </a:moveTo>
                  <a:lnTo>
                    <a:pt x="0" y="82487"/>
                  </a:lnTo>
                  <a:lnTo>
                    <a:pt x="177832" y="82487"/>
                  </a:lnTo>
                  <a:lnTo>
                    <a:pt x="177832" y="405479"/>
                  </a:lnTo>
                  <a:lnTo>
                    <a:pt x="177927" y="410718"/>
                  </a:lnTo>
                  <a:lnTo>
                    <a:pt x="277463" y="410718"/>
                  </a:lnTo>
                  <a:lnTo>
                    <a:pt x="277463" y="82487"/>
                  </a:lnTo>
                  <a:lnTo>
                    <a:pt x="455200" y="82487"/>
                  </a:lnTo>
                  <a:lnTo>
                    <a:pt x="45520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3200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C12DADB6-FFD2-4A10-BD49-79F9BE53E154}"/>
                </a:ext>
              </a:extLst>
            </p:cNvPr>
            <p:cNvSpPr/>
            <p:nvPr/>
          </p:nvSpPr>
          <p:spPr>
            <a:xfrm>
              <a:off x="3244532" y="1060037"/>
              <a:ext cx="544163" cy="408336"/>
            </a:xfrm>
            <a:custGeom>
              <a:avLst/>
              <a:gdLst>
                <a:gd name="connsiteX0" fmla="*/ 402146 w 544163"/>
                <a:gd name="connsiteY0" fmla="*/ 0 h 408336"/>
                <a:gd name="connsiteX1" fmla="*/ 272129 w 544163"/>
                <a:gd name="connsiteY1" fmla="*/ 270034 h 408336"/>
                <a:gd name="connsiteX2" fmla="*/ 142018 w 544163"/>
                <a:gd name="connsiteY2" fmla="*/ 0 h 408336"/>
                <a:gd name="connsiteX3" fmla="*/ 0 w 544163"/>
                <a:gd name="connsiteY3" fmla="*/ 0 h 408336"/>
                <a:gd name="connsiteX4" fmla="*/ 0 w 544163"/>
                <a:gd name="connsiteY4" fmla="*/ 408337 h 408336"/>
                <a:gd name="connsiteX5" fmla="*/ 99536 w 544163"/>
                <a:gd name="connsiteY5" fmla="*/ 408337 h 408336"/>
                <a:gd name="connsiteX6" fmla="*/ 99536 w 544163"/>
                <a:gd name="connsiteY6" fmla="*/ 116110 h 408336"/>
                <a:gd name="connsiteX7" fmla="*/ 226695 w 544163"/>
                <a:gd name="connsiteY7" fmla="*/ 362903 h 408336"/>
                <a:gd name="connsiteX8" fmla="*/ 317468 w 544163"/>
                <a:gd name="connsiteY8" fmla="*/ 362903 h 408336"/>
                <a:gd name="connsiteX9" fmla="*/ 444627 w 544163"/>
                <a:gd name="connsiteY9" fmla="*/ 116110 h 408336"/>
                <a:gd name="connsiteX10" fmla="*/ 444627 w 544163"/>
                <a:gd name="connsiteY10" fmla="*/ 408337 h 408336"/>
                <a:gd name="connsiteX11" fmla="*/ 544163 w 544163"/>
                <a:gd name="connsiteY11" fmla="*/ 408337 h 408336"/>
                <a:gd name="connsiteX12" fmla="*/ 544163 w 544163"/>
                <a:gd name="connsiteY12" fmla="*/ 0 h 408336"/>
                <a:gd name="connsiteX13" fmla="*/ 402146 w 544163"/>
                <a:gd name="connsiteY13" fmla="*/ 0 h 4083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44163" h="408336">
                  <a:moveTo>
                    <a:pt x="402146" y="0"/>
                  </a:moveTo>
                  <a:lnTo>
                    <a:pt x="272129" y="270034"/>
                  </a:lnTo>
                  <a:lnTo>
                    <a:pt x="142018" y="0"/>
                  </a:lnTo>
                  <a:lnTo>
                    <a:pt x="0" y="0"/>
                  </a:lnTo>
                  <a:lnTo>
                    <a:pt x="0" y="408337"/>
                  </a:lnTo>
                  <a:lnTo>
                    <a:pt x="99536" y="408337"/>
                  </a:lnTo>
                  <a:lnTo>
                    <a:pt x="99536" y="116110"/>
                  </a:lnTo>
                  <a:lnTo>
                    <a:pt x="226695" y="362903"/>
                  </a:lnTo>
                  <a:lnTo>
                    <a:pt x="317468" y="362903"/>
                  </a:lnTo>
                  <a:lnTo>
                    <a:pt x="444627" y="116110"/>
                  </a:lnTo>
                  <a:lnTo>
                    <a:pt x="444627" y="408337"/>
                  </a:lnTo>
                  <a:lnTo>
                    <a:pt x="544163" y="408337"/>
                  </a:lnTo>
                  <a:lnTo>
                    <a:pt x="544163" y="0"/>
                  </a:lnTo>
                  <a:lnTo>
                    <a:pt x="402146" y="0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3200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F8AA22D2-97F3-4B27-8C69-CACD0953EFBF}"/>
                </a:ext>
              </a:extLst>
            </p:cNvPr>
            <p:cNvSpPr/>
            <p:nvPr/>
          </p:nvSpPr>
          <p:spPr>
            <a:xfrm>
              <a:off x="4287140" y="2139602"/>
              <a:ext cx="455007" cy="425856"/>
            </a:xfrm>
            <a:custGeom>
              <a:avLst/>
              <a:gdLst>
                <a:gd name="connsiteX0" fmla="*/ 352792 w 455007"/>
                <a:gd name="connsiteY0" fmla="*/ 281366 h 425856"/>
                <a:gd name="connsiteX1" fmla="*/ 333742 w 455007"/>
                <a:gd name="connsiteY1" fmla="*/ 321181 h 425856"/>
                <a:gd name="connsiteX2" fmla="*/ 293833 w 455007"/>
                <a:gd name="connsiteY2" fmla="*/ 341279 h 425856"/>
                <a:gd name="connsiteX3" fmla="*/ 227921 w 455007"/>
                <a:gd name="connsiteY3" fmla="*/ 347184 h 425856"/>
                <a:gd name="connsiteX4" fmla="*/ 158483 w 455007"/>
                <a:gd name="connsiteY4" fmla="*/ 337088 h 425856"/>
                <a:gd name="connsiteX5" fmla="*/ 113621 w 455007"/>
                <a:gd name="connsiteY5" fmla="*/ 303179 h 425856"/>
                <a:gd name="connsiteX6" fmla="*/ 97333 w 455007"/>
                <a:gd name="connsiteY6" fmla="*/ 234218 h 425856"/>
                <a:gd name="connsiteX7" fmla="*/ 97333 w 455007"/>
                <a:gd name="connsiteY7" fmla="*/ 192498 h 425856"/>
                <a:gd name="connsiteX8" fmla="*/ 113621 w 455007"/>
                <a:gd name="connsiteY8" fmla="*/ 123537 h 425856"/>
                <a:gd name="connsiteX9" fmla="*/ 158483 w 455007"/>
                <a:gd name="connsiteY9" fmla="*/ 89628 h 425856"/>
                <a:gd name="connsiteX10" fmla="*/ 227921 w 455007"/>
                <a:gd name="connsiteY10" fmla="*/ 79532 h 425856"/>
                <a:gd name="connsiteX11" fmla="*/ 293833 w 455007"/>
                <a:gd name="connsiteY11" fmla="*/ 85437 h 425856"/>
                <a:gd name="connsiteX12" fmla="*/ 333742 w 455007"/>
                <a:gd name="connsiteY12" fmla="*/ 105535 h 425856"/>
                <a:gd name="connsiteX13" fmla="*/ 352792 w 455007"/>
                <a:gd name="connsiteY13" fmla="*/ 145349 h 425856"/>
                <a:gd name="connsiteX14" fmla="*/ 452423 w 455007"/>
                <a:gd name="connsiteY14" fmla="*/ 145349 h 425856"/>
                <a:gd name="connsiteX15" fmla="*/ 418230 w 455007"/>
                <a:gd name="connsiteY15" fmla="*/ 59624 h 425856"/>
                <a:gd name="connsiteX16" fmla="*/ 343458 w 455007"/>
                <a:gd name="connsiteY16" fmla="*/ 14000 h 425856"/>
                <a:gd name="connsiteX17" fmla="*/ 227444 w 455007"/>
                <a:gd name="connsiteY17" fmla="*/ 93 h 425856"/>
                <a:gd name="connsiteX18" fmla="*/ 104382 w 455007"/>
                <a:gd name="connsiteY18" fmla="*/ 20477 h 425856"/>
                <a:gd name="connsiteX19" fmla="*/ 24847 w 455007"/>
                <a:gd name="connsiteY19" fmla="*/ 88580 h 425856"/>
                <a:gd name="connsiteX20" fmla="*/ -2584 w 455007"/>
                <a:gd name="connsiteY20" fmla="*/ 208310 h 425856"/>
                <a:gd name="connsiteX21" fmla="*/ -2584 w 455007"/>
                <a:gd name="connsiteY21" fmla="*/ 208310 h 425856"/>
                <a:gd name="connsiteX22" fmla="*/ -2584 w 455007"/>
                <a:gd name="connsiteY22" fmla="*/ 213072 h 425856"/>
                <a:gd name="connsiteX23" fmla="*/ 2653 w 455007"/>
                <a:gd name="connsiteY23" fmla="*/ 213072 h 425856"/>
                <a:gd name="connsiteX24" fmla="*/ -2584 w 455007"/>
                <a:gd name="connsiteY24" fmla="*/ 213072 h 425856"/>
                <a:gd name="connsiteX25" fmla="*/ -2584 w 455007"/>
                <a:gd name="connsiteY25" fmla="*/ 217644 h 425856"/>
                <a:gd name="connsiteX26" fmla="*/ -2584 w 455007"/>
                <a:gd name="connsiteY26" fmla="*/ 217644 h 425856"/>
                <a:gd name="connsiteX27" fmla="*/ 24847 w 455007"/>
                <a:gd name="connsiteY27" fmla="*/ 337373 h 425856"/>
                <a:gd name="connsiteX28" fmla="*/ 104382 w 455007"/>
                <a:gd name="connsiteY28" fmla="*/ 405382 h 425856"/>
                <a:gd name="connsiteX29" fmla="*/ 227444 w 455007"/>
                <a:gd name="connsiteY29" fmla="*/ 425765 h 425856"/>
                <a:gd name="connsiteX30" fmla="*/ 343458 w 455007"/>
                <a:gd name="connsiteY30" fmla="*/ 411954 h 425856"/>
                <a:gd name="connsiteX31" fmla="*/ 418230 w 455007"/>
                <a:gd name="connsiteY31" fmla="*/ 366234 h 425856"/>
                <a:gd name="connsiteX32" fmla="*/ 452423 w 455007"/>
                <a:gd name="connsiteY32" fmla="*/ 280509 h 4258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455007" h="425856">
                  <a:moveTo>
                    <a:pt x="352792" y="281366"/>
                  </a:moveTo>
                  <a:cubicBezTo>
                    <a:pt x="351078" y="296387"/>
                    <a:pt x="344316" y="310399"/>
                    <a:pt x="333742" y="321181"/>
                  </a:cubicBezTo>
                  <a:cubicBezTo>
                    <a:pt x="322503" y="331382"/>
                    <a:pt x="308693" y="338335"/>
                    <a:pt x="293833" y="341279"/>
                  </a:cubicBezTo>
                  <a:cubicBezTo>
                    <a:pt x="272116" y="345517"/>
                    <a:pt x="250017" y="347489"/>
                    <a:pt x="227921" y="347184"/>
                  </a:cubicBezTo>
                  <a:cubicBezTo>
                    <a:pt x="204394" y="347594"/>
                    <a:pt x="180961" y="344184"/>
                    <a:pt x="158483" y="337088"/>
                  </a:cubicBezTo>
                  <a:cubicBezTo>
                    <a:pt x="140196" y="331087"/>
                    <a:pt x="124383" y="319152"/>
                    <a:pt x="113621" y="303179"/>
                  </a:cubicBezTo>
                  <a:cubicBezTo>
                    <a:pt x="102856" y="287177"/>
                    <a:pt x="97333" y="263936"/>
                    <a:pt x="97333" y="234218"/>
                  </a:cubicBezTo>
                  <a:lnTo>
                    <a:pt x="97333" y="192498"/>
                  </a:lnTo>
                  <a:cubicBezTo>
                    <a:pt x="97333" y="162780"/>
                    <a:pt x="102856" y="139539"/>
                    <a:pt x="113621" y="123537"/>
                  </a:cubicBezTo>
                  <a:cubicBezTo>
                    <a:pt x="124383" y="107564"/>
                    <a:pt x="140196" y="95629"/>
                    <a:pt x="158483" y="89628"/>
                  </a:cubicBezTo>
                  <a:cubicBezTo>
                    <a:pt x="180961" y="82484"/>
                    <a:pt x="204394" y="79075"/>
                    <a:pt x="227921" y="79532"/>
                  </a:cubicBezTo>
                  <a:cubicBezTo>
                    <a:pt x="250017" y="79179"/>
                    <a:pt x="272116" y="81151"/>
                    <a:pt x="293833" y="85437"/>
                  </a:cubicBezTo>
                  <a:cubicBezTo>
                    <a:pt x="308693" y="88380"/>
                    <a:pt x="322503" y="95334"/>
                    <a:pt x="333742" y="105535"/>
                  </a:cubicBezTo>
                  <a:cubicBezTo>
                    <a:pt x="344316" y="116317"/>
                    <a:pt x="351078" y="130329"/>
                    <a:pt x="352792" y="145349"/>
                  </a:cubicBezTo>
                  <a:lnTo>
                    <a:pt x="452423" y="145349"/>
                  </a:lnTo>
                  <a:cubicBezTo>
                    <a:pt x="450709" y="113812"/>
                    <a:pt x="438708" y="83713"/>
                    <a:pt x="418230" y="59624"/>
                  </a:cubicBezTo>
                  <a:cubicBezTo>
                    <a:pt x="398227" y="37546"/>
                    <a:pt x="372224" y="21705"/>
                    <a:pt x="343458" y="14000"/>
                  </a:cubicBezTo>
                  <a:cubicBezTo>
                    <a:pt x="305644" y="4018"/>
                    <a:pt x="266590" y="-669"/>
                    <a:pt x="227444" y="93"/>
                  </a:cubicBezTo>
                  <a:cubicBezTo>
                    <a:pt x="185535" y="-897"/>
                    <a:pt x="143719" y="6018"/>
                    <a:pt x="104382" y="20477"/>
                  </a:cubicBezTo>
                  <a:cubicBezTo>
                    <a:pt x="70854" y="33431"/>
                    <a:pt x="42753" y="57462"/>
                    <a:pt x="24847" y="88580"/>
                  </a:cubicBezTo>
                  <a:cubicBezTo>
                    <a:pt x="7225" y="118775"/>
                    <a:pt x="-2014" y="158970"/>
                    <a:pt x="-2584" y="208310"/>
                  </a:cubicBezTo>
                  <a:lnTo>
                    <a:pt x="-2584" y="208310"/>
                  </a:lnTo>
                  <a:lnTo>
                    <a:pt x="-2584" y="213072"/>
                  </a:lnTo>
                  <a:lnTo>
                    <a:pt x="2653" y="213072"/>
                  </a:lnTo>
                  <a:lnTo>
                    <a:pt x="-2584" y="213072"/>
                  </a:lnTo>
                  <a:lnTo>
                    <a:pt x="-2584" y="217644"/>
                  </a:lnTo>
                  <a:lnTo>
                    <a:pt x="-2584" y="217644"/>
                  </a:lnTo>
                  <a:cubicBezTo>
                    <a:pt x="-2014" y="266984"/>
                    <a:pt x="6941" y="307179"/>
                    <a:pt x="24847" y="337373"/>
                  </a:cubicBezTo>
                  <a:cubicBezTo>
                    <a:pt x="42753" y="368492"/>
                    <a:pt x="70854" y="392495"/>
                    <a:pt x="104382" y="405382"/>
                  </a:cubicBezTo>
                  <a:cubicBezTo>
                    <a:pt x="143719" y="419831"/>
                    <a:pt x="185535" y="426747"/>
                    <a:pt x="227444" y="425765"/>
                  </a:cubicBezTo>
                  <a:cubicBezTo>
                    <a:pt x="266590" y="426556"/>
                    <a:pt x="305644" y="421908"/>
                    <a:pt x="343458" y="411954"/>
                  </a:cubicBezTo>
                  <a:cubicBezTo>
                    <a:pt x="372319" y="404258"/>
                    <a:pt x="398227" y="388380"/>
                    <a:pt x="418230" y="366234"/>
                  </a:cubicBezTo>
                  <a:cubicBezTo>
                    <a:pt x="438612" y="342145"/>
                    <a:pt x="450709" y="312047"/>
                    <a:pt x="452423" y="280509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3200"/>
            </a:p>
          </p:txBody>
        </p:sp>
      </p:grpSp>
      <p:sp>
        <p:nvSpPr>
          <p:cNvPr id="14" name="TextBox 13">
            <a:extLst>
              <a:ext uri="{FF2B5EF4-FFF2-40B4-BE49-F238E27FC236}">
                <a16:creationId xmlns:a16="http://schemas.microsoft.com/office/drawing/2014/main" id="{E4C72BCC-78CD-4875-B007-A8F925D97D5B}"/>
              </a:ext>
            </a:extLst>
          </p:cNvPr>
          <p:cNvSpPr txBox="1"/>
          <p:nvPr/>
        </p:nvSpPr>
        <p:spPr>
          <a:xfrm>
            <a:off x="180000" y="6528002"/>
            <a:ext cx="461856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fld id="{D4173914-8D64-4736-8A19-DA80CA0FDAB6}" type="slidenum">
              <a:rPr lang="ru-RU" sz="800" b="0" smtClean="0">
                <a:solidFill>
                  <a:srgbClr val="BBC1C7"/>
                </a:solidFill>
                <a:latin typeface="MTS Text" panose="020B0306020102020303" pitchFamily="34" charset="0"/>
                <a:ea typeface="MTS Text" panose="020B0306020102020303" pitchFamily="34" charset="0"/>
              </a:rPr>
              <a:pPr algn="l"/>
              <a:t>‹#›</a:t>
            </a:fld>
            <a:endParaRPr lang="ru-RU" sz="800" b="0" dirty="0">
              <a:solidFill>
                <a:srgbClr val="BBC1C7"/>
              </a:solidFill>
              <a:latin typeface="MTS Text" panose="020B0306020102020303" pitchFamily="34" charset="0"/>
              <a:ea typeface="MTS Text" panose="020B0306020102020303" pitchFamily="34" charset="0"/>
            </a:endParaRP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3176EBB6-DDEB-441C-90C3-117575D6C68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19669" y="6538260"/>
            <a:ext cx="11233149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700"/>
            </a:lvl1pPr>
            <a:lvl2pPr marL="457212" indent="0">
              <a:lnSpc>
                <a:spcPct val="100000"/>
              </a:lnSpc>
              <a:spcBef>
                <a:spcPts val="0"/>
              </a:spcBef>
              <a:buNone/>
              <a:defRPr sz="667"/>
            </a:lvl2pPr>
            <a:lvl3pPr marL="914423" indent="0">
              <a:lnSpc>
                <a:spcPct val="100000"/>
              </a:lnSpc>
              <a:spcBef>
                <a:spcPts val="0"/>
              </a:spcBef>
              <a:buNone/>
              <a:defRPr sz="667"/>
            </a:lvl3pPr>
            <a:lvl4pPr marL="1371635" indent="0">
              <a:lnSpc>
                <a:spcPct val="100000"/>
              </a:lnSpc>
              <a:spcBef>
                <a:spcPts val="0"/>
              </a:spcBef>
              <a:buNone/>
              <a:defRPr sz="667"/>
            </a:lvl4pPr>
            <a:lvl5pPr marL="1828845" indent="0">
              <a:lnSpc>
                <a:spcPct val="100000"/>
              </a:lnSpc>
              <a:spcBef>
                <a:spcPts val="0"/>
              </a:spcBef>
              <a:buNone/>
              <a:defRPr sz="667"/>
            </a:lvl5pPr>
          </a:lstStyle>
          <a:p>
            <a:pPr lvl="0"/>
            <a:r>
              <a:rPr lang="ru-RU" dirty="0"/>
              <a:t>Ссылки и примечания</a:t>
            </a:r>
          </a:p>
        </p:txBody>
      </p:sp>
    </p:spTree>
    <p:extLst>
      <p:ext uri="{BB962C8B-B14F-4D97-AF65-F5344CB8AC3E}">
        <p14:creationId xmlns:p14="http://schemas.microsoft.com/office/powerpoint/2010/main" val="356472673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Простой / 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F20D7CC-5B0D-4541-A23D-43233DB0086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9" y="2119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8" name="think-cell Slide" r:id="rId4" imgW="359" imgH="367" progId="TCLayout.ActiveDocument.1">
                  <p:embed/>
                </p:oleObj>
              </mc:Choice>
              <mc:Fallback>
                <p:oleObj name="think-cell Slide" r:id="rId4" imgW="359" imgH="367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F20D7CC-5B0D-4541-A23D-43233DB008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28403266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EME / PROBLEMS">
    <p:bg>
      <p:bgPr>
        <a:solidFill>
          <a:srgbClr val="FF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939C753-1782-4BD3-8356-A657C018F64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9" y="2119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2" name="think-cell Slide" r:id="rId4" imgW="359" imgH="367" progId="TCLayout.ActiveDocument.1">
                  <p:embed/>
                </p:oleObj>
              </mc:Choice>
              <mc:Fallback>
                <p:oleObj name="think-cell Slide" r:id="rId4" imgW="359" imgH="367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939C753-1782-4BD3-8356-A657C018F6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16ED118B-F8ED-4AC3-A2E3-5A7DD1D28CA0}"/>
              </a:ext>
            </a:extLst>
          </p:cNvPr>
          <p:cNvSpPr txBox="1"/>
          <p:nvPr/>
        </p:nvSpPr>
        <p:spPr>
          <a:xfrm>
            <a:off x="239185" y="5389993"/>
            <a:ext cx="11713632" cy="123123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indent="0" algn="l">
              <a:lnSpc>
                <a:spcPct val="80000"/>
              </a:lnSpc>
              <a:spcAft>
                <a:spcPts val="667"/>
              </a:spcAft>
              <a:buFont typeface="Arial" panose="020B0604020202020204" pitchFamily="34" charset="0"/>
              <a:buNone/>
            </a:pPr>
            <a:r>
              <a:rPr lang="ru-RU" sz="10001" dirty="0">
                <a:solidFill>
                  <a:schemeClr val="bg1"/>
                </a:solidFill>
                <a:latin typeface="+mj-lt"/>
              </a:rPr>
              <a:t>Проблемы</a:t>
            </a:r>
          </a:p>
        </p:txBody>
      </p:sp>
      <p:sp>
        <p:nvSpPr>
          <p:cNvPr id="6" name="Isosceles Triangle 5">
            <a:extLst>
              <a:ext uri="{FF2B5EF4-FFF2-40B4-BE49-F238E27FC236}">
                <a16:creationId xmlns:a16="http://schemas.microsoft.com/office/drawing/2014/main" id="{40A0FFC8-1A3A-48E8-807B-BDA7BB6F965D}"/>
              </a:ext>
            </a:extLst>
          </p:cNvPr>
          <p:cNvSpPr/>
          <p:nvPr/>
        </p:nvSpPr>
        <p:spPr>
          <a:xfrm rot="5400000">
            <a:off x="9239249" y="1799171"/>
            <a:ext cx="2880784" cy="1200151"/>
          </a:xfrm>
          <a:custGeom>
            <a:avLst/>
            <a:gdLst>
              <a:gd name="connsiteX0" fmla="*/ 0 w 1321800"/>
              <a:gd name="connsiteY0" fmla="*/ 1139483 h 1139483"/>
              <a:gd name="connsiteX1" fmla="*/ 660900 w 1321800"/>
              <a:gd name="connsiteY1" fmla="*/ 0 h 1139483"/>
              <a:gd name="connsiteX2" fmla="*/ 1321800 w 1321800"/>
              <a:gd name="connsiteY2" fmla="*/ 1139483 h 1139483"/>
              <a:gd name="connsiteX3" fmla="*/ 0 w 1321800"/>
              <a:gd name="connsiteY3" fmla="*/ 1139483 h 1139483"/>
              <a:gd name="connsiteX0" fmla="*/ 0 w 1321800"/>
              <a:gd name="connsiteY0" fmla="*/ 1139483 h 1161550"/>
              <a:gd name="connsiteX1" fmla="*/ 660900 w 1321800"/>
              <a:gd name="connsiteY1" fmla="*/ 0 h 1161550"/>
              <a:gd name="connsiteX2" fmla="*/ 1321800 w 1321800"/>
              <a:gd name="connsiteY2" fmla="*/ 1139483 h 1161550"/>
              <a:gd name="connsiteX3" fmla="*/ 646833 w 1321800"/>
              <a:gd name="connsiteY3" fmla="*/ 1161550 h 1161550"/>
              <a:gd name="connsiteX4" fmla="*/ 0 w 1321800"/>
              <a:gd name="connsiteY4" fmla="*/ 1139483 h 1161550"/>
              <a:gd name="connsiteX0" fmla="*/ 646833 w 1321800"/>
              <a:gd name="connsiteY0" fmla="*/ 1161550 h 1252990"/>
              <a:gd name="connsiteX1" fmla="*/ 0 w 1321800"/>
              <a:gd name="connsiteY1" fmla="*/ 1139483 h 1252990"/>
              <a:gd name="connsiteX2" fmla="*/ 660900 w 1321800"/>
              <a:gd name="connsiteY2" fmla="*/ 0 h 1252990"/>
              <a:gd name="connsiteX3" fmla="*/ 1321800 w 1321800"/>
              <a:gd name="connsiteY3" fmla="*/ 1139483 h 1252990"/>
              <a:gd name="connsiteX4" fmla="*/ 738273 w 1321800"/>
              <a:gd name="connsiteY4" fmla="*/ 1252990 h 1252990"/>
              <a:gd name="connsiteX0" fmla="*/ 646833 w 1321800"/>
              <a:gd name="connsiteY0" fmla="*/ 1161550 h 1161550"/>
              <a:gd name="connsiteX1" fmla="*/ 0 w 1321800"/>
              <a:gd name="connsiteY1" fmla="*/ 1139483 h 1161550"/>
              <a:gd name="connsiteX2" fmla="*/ 660900 w 1321800"/>
              <a:gd name="connsiteY2" fmla="*/ 0 h 1161550"/>
              <a:gd name="connsiteX3" fmla="*/ 1321800 w 1321800"/>
              <a:gd name="connsiteY3" fmla="*/ 1139483 h 1161550"/>
              <a:gd name="connsiteX0" fmla="*/ 0 w 1321800"/>
              <a:gd name="connsiteY0" fmla="*/ 1139483 h 1139483"/>
              <a:gd name="connsiteX1" fmla="*/ 660900 w 1321800"/>
              <a:gd name="connsiteY1" fmla="*/ 0 h 1139483"/>
              <a:gd name="connsiteX2" fmla="*/ 1321800 w 1321800"/>
              <a:gd name="connsiteY2" fmla="*/ 1139483 h 11394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321800" h="1139483">
                <a:moveTo>
                  <a:pt x="0" y="1139483"/>
                </a:moveTo>
                <a:lnTo>
                  <a:pt x="660900" y="0"/>
                </a:lnTo>
                <a:lnTo>
                  <a:pt x="1321800" y="1139483"/>
                </a:lnTo>
              </a:path>
            </a:pathLst>
          </a:custGeom>
          <a:noFill/>
          <a:ln w="2540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 sz="320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FAC22DBF-02DF-44CF-8711-532C1B122CC0}"/>
              </a:ext>
            </a:extLst>
          </p:cNvPr>
          <p:cNvCxnSpPr>
            <a:cxnSpLocks/>
            <a:endCxn id="6" idx="1"/>
          </p:cNvCxnSpPr>
          <p:nvPr/>
        </p:nvCxnSpPr>
        <p:spPr>
          <a:xfrm>
            <a:off x="7679268" y="2399246"/>
            <a:ext cx="3600451" cy="1"/>
          </a:xfrm>
          <a:prstGeom prst="line">
            <a:avLst/>
          </a:prstGeom>
          <a:noFill/>
          <a:ln w="2540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</p:spTree>
    <p:extLst>
      <p:ext uri="{BB962C8B-B14F-4D97-AF65-F5344CB8AC3E}">
        <p14:creationId xmlns:p14="http://schemas.microsoft.com/office/powerpoint/2010/main" val="313554533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Контент / Компактный / Бизнес-рит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F20D7CC-5B0D-4541-A23D-43233DB0086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9" y="2119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6" name="Слайд think-cell" r:id="rId4" imgW="359" imgH="367" progId="TCLayout.ActiveDocument.1">
                  <p:embed/>
                </p:oleObj>
              </mc:Choice>
              <mc:Fallback>
                <p:oleObj name="Слайд think-cell" r:id="rId4" imgW="359" imgH="367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F20D7CC-5B0D-4541-A23D-43233DB008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FD7BF56-CDBB-461E-880E-21F5C33B4B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0000" y="540001"/>
            <a:ext cx="11160000" cy="221599"/>
          </a:xfrm>
          <a:prstGeom prst="rect">
            <a:avLst/>
          </a:prstGeom>
        </p:spPr>
        <p:txBody>
          <a:bodyPr vert="horz" wrap="square" lIns="0" tIns="0" rIns="0" bIns="0">
            <a:spAutoFit/>
          </a:bodyPr>
          <a:lstStyle>
            <a:lvl1pPr>
              <a:lnSpc>
                <a:spcPct val="90000"/>
              </a:lnSpc>
              <a:defRPr sz="1600" cap="all" spc="50" baseline="0">
                <a:solidFill>
                  <a:schemeClr val="tx1"/>
                </a:solidFill>
                <a:latin typeface="+mj-lt"/>
                <a:ea typeface="+mj-ea"/>
              </a:defRPr>
            </a:lvl1pPr>
          </a:lstStyle>
          <a:p>
            <a:r>
              <a:rPr lang="en-US"/>
              <a:t>Click to edit Master title style</a:t>
            </a:r>
            <a:endParaRPr lang="ru-RU" dirty="0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1F7527AC-B804-43D1-9EE7-6DF696953F1F}"/>
              </a:ext>
            </a:extLst>
          </p:cNvPr>
          <p:cNvGrpSpPr>
            <a:grpSpLocks noChangeAspect="1"/>
          </p:cNvGrpSpPr>
          <p:nvPr/>
        </p:nvGrpSpPr>
        <p:grpSpPr>
          <a:xfrm>
            <a:off x="11471277" y="1"/>
            <a:ext cx="720724" cy="720724"/>
            <a:chOff x="3108325" y="923925"/>
            <a:chExt cx="1769268" cy="1769268"/>
          </a:xfrm>
        </p:grpSpPr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71B6031A-3934-48CF-BC18-02DF36B23B30}"/>
                </a:ext>
              </a:extLst>
            </p:cNvPr>
            <p:cNvSpPr/>
            <p:nvPr/>
          </p:nvSpPr>
          <p:spPr>
            <a:xfrm>
              <a:off x="3108325" y="923925"/>
              <a:ext cx="1769268" cy="1769268"/>
            </a:xfrm>
            <a:custGeom>
              <a:avLst/>
              <a:gdLst>
                <a:gd name="connsiteX0" fmla="*/ 0 w 1769268"/>
                <a:gd name="connsiteY0" fmla="*/ 0 h 1769268"/>
                <a:gd name="connsiteX1" fmla="*/ 1769269 w 1769268"/>
                <a:gd name="connsiteY1" fmla="*/ 0 h 1769268"/>
                <a:gd name="connsiteX2" fmla="*/ 1769269 w 1769268"/>
                <a:gd name="connsiteY2" fmla="*/ 1769269 h 1769268"/>
                <a:gd name="connsiteX3" fmla="*/ 0 w 1769268"/>
                <a:gd name="connsiteY3" fmla="*/ 1769269 h 17692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69268" h="1769268">
                  <a:moveTo>
                    <a:pt x="0" y="0"/>
                  </a:moveTo>
                  <a:lnTo>
                    <a:pt x="1769269" y="0"/>
                  </a:lnTo>
                  <a:lnTo>
                    <a:pt x="1769269" y="1769269"/>
                  </a:lnTo>
                  <a:lnTo>
                    <a:pt x="0" y="1769269"/>
                  </a:lnTo>
                  <a:close/>
                </a:path>
              </a:pathLst>
            </a:custGeom>
            <a:solidFill>
              <a:srgbClr val="FF003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3200"/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18E25CF4-F85D-4478-BC1D-4B10B176052D}"/>
                </a:ext>
              </a:extLst>
            </p:cNvPr>
            <p:cNvSpPr/>
            <p:nvPr/>
          </p:nvSpPr>
          <p:spPr>
            <a:xfrm>
              <a:off x="4287041" y="1058797"/>
              <a:ext cx="455198" cy="410716"/>
            </a:xfrm>
            <a:custGeom>
              <a:avLst/>
              <a:gdLst>
                <a:gd name="connsiteX0" fmla="*/ 0 w 455199"/>
                <a:gd name="connsiteY0" fmla="*/ 0 h 410717"/>
                <a:gd name="connsiteX1" fmla="*/ 0 w 455199"/>
                <a:gd name="connsiteY1" fmla="*/ 82487 h 410717"/>
                <a:gd name="connsiteX2" fmla="*/ 177832 w 455199"/>
                <a:gd name="connsiteY2" fmla="*/ 82487 h 410717"/>
                <a:gd name="connsiteX3" fmla="*/ 177832 w 455199"/>
                <a:gd name="connsiteY3" fmla="*/ 405479 h 410717"/>
                <a:gd name="connsiteX4" fmla="*/ 177927 w 455199"/>
                <a:gd name="connsiteY4" fmla="*/ 410718 h 410717"/>
                <a:gd name="connsiteX5" fmla="*/ 277463 w 455199"/>
                <a:gd name="connsiteY5" fmla="*/ 410718 h 410717"/>
                <a:gd name="connsiteX6" fmla="*/ 277463 w 455199"/>
                <a:gd name="connsiteY6" fmla="*/ 82487 h 410717"/>
                <a:gd name="connsiteX7" fmla="*/ 455200 w 455199"/>
                <a:gd name="connsiteY7" fmla="*/ 82487 h 410717"/>
                <a:gd name="connsiteX8" fmla="*/ 455200 w 455199"/>
                <a:gd name="connsiteY8" fmla="*/ 0 h 410717"/>
                <a:gd name="connsiteX9" fmla="*/ 0 w 455199"/>
                <a:gd name="connsiteY9" fmla="*/ 0 h 410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55199" h="410717">
                  <a:moveTo>
                    <a:pt x="0" y="0"/>
                  </a:moveTo>
                  <a:lnTo>
                    <a:pt x="0" y="82487"/>
                  </a:lnTo>
                  <a:lnTo>
                    <a:pt x="177832" y="82487"/>
                  </a:lnTo>
                  <a:lnTo>
                    <a:pt x="177832" y="405479"/>
                  </a:lnTo>
                  <a:lnTo>
                    <a:pt x="177927" y="410718"/>
                  </a:lnTo>
                  <a:lnTo>
                    <a:pt x="277463" y="410718"/>
                  </a:lnTo>
                  <a:lnTo>
                    <a:pt x="277463" y="82487"/>
                  </a:lnTo>
                  <a:lnTo>
                    <a:pt x="455200" y="82487"/>
                  </a:lnTo>
                  <a:lnTo>
                    <a:pt x="45520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3200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C12DADB6-FFD2-4A10-BD49-79F9BE53E154}"/>
                </a:ext>
              </a:extLst>
            </p:cNvPr>
            <p:cNvSpPr/>
            <p:nvPr/>
          </p:nvSpPr>
          <p:spPr>
            <a:xfrm>
              <a:off x="3244532" y="1060037"/>
              <a:ext cx="544163" cy="408336"/>
            </a:xfrm>
            <a:custGeom>
              <a:avLst/>
              <a:gdLst>
                <a:gd name="connsiteX0" fmla="*/ 402146 w 544163"/>
                <a:gd name="connsiteY0" fmla="*/ 0 h 408336"/>
                <a:gd name="connsiteX1" fmla="*/ 272129 w 544163"/>
                <a:gd name="connsiteY1" fmla="*/ 270034 h 408336"/>
                <a:gd name="connsiteX2" fmla="*/ 142018 w 544163"/>
                <a:gd name="connsiteY2" fmla="*/ 0 h 408336"/>
                <a:gd name="connsiteX3" fmla="*/ 0 w 544163"/>
                <a:gd name="connsiteY3" fmla="*/ 0 h 408336"/>
                <a:gd name="connsiteX4" fmla="*/ 0 w 544163"/>
                <a:gd name="connsiteY4" fmla="*/ 408337 h 408336"/>
                <a:gd name="connsiteX5" fmla="*/ 99536 w 544163"/>
                <a:gd name="connsiteY5" fmla="*/ 408337 h 408336"/>
                <a:gd name="connsiteX6" fmla="*/ 99536 w 544163"/>
                <a:gd name="connsiteY6" fmla="*/ 116110 h 408336"/>
                <a:gd name="connsiteX7" fmla="*/ 226695 w 544163"/>
                <a:gd name="connsiteY7" fmla="*/ 362903 h 408336"/>
                <a:gd name="connsiteX8" fmla="*/ 317468 w 544163"/>
                <a:gd name="connsiteY8" fmla="*/ 362903 h 408336"/>
                <a:gd name="connsiteX9" fmla="*/ 444627 w 544163"/>
                <a:gd name="connsiteY9" fmla="*/ 116110 h 408336"/>
                <a:gd name="connsiteX10" fmla="*/ 444627 w 544163"/>
                <a:gd name="connsiteY10" fmla="*/ 408337 h 408336"/>
                <a:gd name="connsiteX11" fmla="*/ 544163 w 544163"/>
                <a:gd name="connsiteY11" fmla="*/ 408337 h 408336"/>
                <a:gd name="connsiteX12" fmla="*/ 544163 w 544163"/>
                <a:gd name="connsiteY12" fmla="*/ 0 h 408336"/>
                <a:gd name="connsiteX13" fmla="*/ 402146 w 544163"/>
                <a:gd name="connsiteY13" fmla="*/ 0 h 4083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44163" h="408336">
                  <a:moveTo>
                    <a:pt x="402146" y="0"/>
                  </a:moveTo>
                  <a:lnTo>
                    <a:pt x="272129" y="270034"/>
                  </a:lnTo>
                  <a:lnTo>
                    <a:pt x="142018" y="0"/>
                  </a:lnTo>
                  <a:lnTo>
                    <a:pt x="0" y="0"/>
                  </a:lnTo>
                  <a:lnTo>
                    <a:pt x="0" y="408337"/>
                  </a:lnTo>
                  <a:lnTo>
                    <a:pt x="99536" y="408337"/>
                  </a:lnTo>
                  <a:lnTo>
                    <a:pt x="99536" y="116110"/>
                  </a:lnTo>
                  <a:lnTo>
                    <a:pt x="226695" y="362903"/>
                  </a:lnTo>
                  <a:lnTo>
                    <a:pt x="317468" y="362903"/>
                  </a:lnTo>
                  <a:lnTo>
                    <a:pt x="444627" y="116110"/>
                  </a:lnTo>
                  <a:lnTo>
                    <a:pt x="444627" y="408337"/>
                  </a:lnTo>
                  <a:lnTo>
                    <a:pt x="544163" y="408337"/>
                  </a:lnTo>
                  <a:lnTo>
                    <a:pt x="544163" y="0"/>
                  </a:lnTo>
                  <a:lnTo>
                    <a:pt x="402146" y="0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3200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F8AA22D2-97F3-4B27-8C69-CACD0953EFBF}"/>
                </a:ext>
              </a:extLst>
            </p:cNvPr>
            <p:cNvSpPr/>
            <p:nvPr/>
          </p:nvSpPr>
          <p:spPr>
            <a:xfrm>
              <a:off x="4287140" y="2139602"/>
              <a:ext cx="455007" cy="425856"/>
            </a:xfrm>
            <a:custGeom>
              <a:avLst/>
              <a:gdLst>
                <a:gd name="connsiteX0" fmla="*/ 352792 w 455007"/>
                <a:gd name="connsiteY0" fmla="*/ 281366 h 425856"/>
                <a:gd name="connsiteX1" fmla="*/ 333742 w 455007"/>
                <a:gd name="connsiteY1" fmla="*/ 321181 h 425856"/>
                <a:gd name="connsiteX2" fmla="*/ 293833 w 455007"/>
                <a:gd name="connsiteY2" fmla="*/ 341279 h 425856"/>
                <a:gd name="connsiteX3" fmla="*/ 227921 w 455007"/>
                <a:gd name="connsiteY3" fmla="*/ 347184 h 425856"/>
                <a:gd name="connsiteX4" fmla="*/ 158483 w 455007"/>
                <a:gd name="connsiteY4" fmla="*/ 337088 h 425856"/>
                <a:gd name="connsiteX5" fmla="*/ 113621 w 455007"/>
                <a:gd name="connsiteY5" fmla="*/ 303179 h 425856"/>
                <a:gd name="connsiteX6" fmla="*/ 97333 w 455007"/>
                <a:gd name="connsiteY6" fmla="*/ 234218 h 425856"/>
                <a:gd name="connsiteX7" fmla="*/ 97333 w 455007"/>
                <a:gd name="connsiteY7" fmla="*/ 192498 h 425856"/>
                <a:gd name="connsiteX8" fmla="*/ 113621 w 455007"/>
                <a:gd name="connsiteY8" fmla="*/ 123537 h 425856"/>
                <a:gd name="connsiteX9" fmla="*/ 158483 w 455007"/>
                <a:gd name="connsiteY9" fmla="*/ 89628 h 425856"/>
                <a:gd name="connsiteX10" fmla="*/ 227921 w 455007"/>
                <a:gd name="connsiteY10" fmla="*/ 79532 h 425856"/>
                <a:gd name="connsiteX11" fmla="*/ 293833 w 455007"/>
                <a:gd name="connsiteY11" fmla="*/ 85437 h 425856"/>
                <a:gd name="connsiteX12" fmla="*/ 333742 w 455007"/>
                <a:gd name="connsiteY12" fmla="*/ 105535 h 425856"/>
                <a:gd name="connsiteX13" fmla="*/ 352792 w 455007"/>
                <a:gd name="connsiteY13" fmla="*/ 145349 h 425856"/>
                <a:gd name="connsiteX14" fmla="*/ 452423 w 455007"/>
                <a:gd name="connsiteY14" fmla="*/ 145349 h 425856"/>
                <a:gd name="connsiteX15" fmla="*/ 418230 w 455007"/>
                <a:gd name="connsiteY15" fmla="*/ 59624 h 425856"/>
                <a:gd name="connsiteX16" fmla="*/ 343458 w 455007"/>
                <a:gd name="connsiteY16" fmla="*/ 14000 h 425856"/>
                <a:gd name="connsiteX17" fmla="*/ 227444 w 455007"/>
                <a:gd name="connsiteY17" fmla="*/ 93 h 425856"/>
                <a:gd name="connsiteX18" fmla="*/ 104382 w 455007"/>
                <a:gd name="connsiteY18" fmla="*/ 20477 h 425856"/>
                <a:gd name="connsiteX19" fmla="*/ 24847 w 455007"/>
                <a:gd name="connsiteY19" fmla="*/ 88580 h 425856"/>
                <a:gd name="connsiteX20" fmla="*/ -2584 w 455007"/>
                <a:gd name="connsiteY20" fmla="*/ 208310 h 425856"/>
                <a:gd name="connsiteX21" fmla="*/ -2584 w 455007"/>
                <a:gd name="connsiteY21" fmla="*/ 208310 h 425856"/>
                <a:gd name="connsiteX22" fmla="*/ -2584 w 455007"/>
                <a:gd name="connsiteY22" fmla="*/ 213072 h 425856"/>
                <a:gd name="connsiteX23" fmla="*/ 2653 w 455007"/>
                <a:gd name="connsiteY23" fmla="*/ 213072 h 425856"/>
                <a:gd name="connsiteX24" fmla="*/ -2584 w 455007"/>
                <a:gd name="connsiteY24" fmla="*/ 213072 h 425856"/>
                <a:gd name="connsiteX25" fmla="*/ -2584 w 455007"/>
                <a:gd name="connsiteY25" fmla="*/ 217644 h 425856"/>
                <a:gd name="connsiteX26" fmla="*/ -2584 w 455007"/>
                <a:gd name="connsiteY26" fmla="*/ 217644 h 425856"/>
                <a:gd name="connsiteX27" fmla="*/ 24847 w 455007"/>
                <a:gd name="connsiteY27" fmla="*/ 337373 h 425856"/>
                <a:gd name="connsiteX28" fmla="*/ 104382 w 455007"/>
                <a:gd name="connsiteY28" fmla="*/ 405382 h 425856"/>
                <a:gd name="connsiteX29" fmla="*/ 227444 w 455007"/>
                <a:gd name="connsiteY29" fmla="*/ 425765 h 425856"/>
                <a:gd name="connsiteX30" fmla="*/ 343458 w 455007"/>
                <a:gd name="connsiteY30" fmla="*/ 411954 h 425856"/>
                <a:gd name="connsiteX31" fmla="*/ 418230 w 455007"/>
                <a:gd name="connsiteY31" fmla="*/ 366234 h 425856"/>
                <a:gd name="connsiteX32" fmla="*/ 452423 w 455007"/>
                <a:gd name="connsiteY32" fmla="*/ 280509 h 4258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455007" h="425856">
                  <a:moveTo>
                    <a:pt x="352792" y="281366"/>
                  </a:moveTo>
                  <a:cubicBezTo>
                    <a:pt x="351078" y="296387"/>
                    <a:pt x="344316" y="310399"/>
                    <a:pt x="333742" y="321181"/>
                  </a:cubicBezTo>
                  <a:cubicBezTo>
                    <a:pt x="322503" y="331382"/>
                    <a:pt x="308693" y="338335"/>
                    <a:pt x="293833" y="341279"/>
                  </a:cubicBezTo>
                  <a:cubicBezTo>
                    <a:pt x="272116" y="345517"/>
                    <a:pt x="250017" y="347489"/>
                    <a:pt x="227921" y="347184"/>
                  </a:cubicBezTo>
                  <a:cubicBezTo>
                    <a:pt x="204394" y="347594"/>
                    <a:pt x="180961" y="344184"/>
                    <a:pt x="158483" y="337088"/>
                  </a:cubicBezTo>
                  <a:cubicBezTo>
                    <a:pt x="140196" y="331087"/>
                    <a:pt x="124383" y="319152"/>
                    <a:pt x="113621" y="303179"/>
                  </a:cubicBezTo>
                  <a:cubicBezTo>
                    <a:pt x="102856" y="287177"/>
                    <a:pt x="97333" y="263936"/>
                    <a:pt x="97333" y="234218"/>
                  </a:cubicBezTo>
                  <a:lnTo>
                    <a:pt x="97333" y="192498"/>
                  </a:lnTo>
                  <a:cubicBezTo>
                    <a:pt x="97333" y="162780"/>
                    <a:pt x="102856" y="139539"/>
                    <a:pt x="113621" y="123537"/>
                  </a:cubicBezTo>
                  <a:cubicBezTo>
                    <a:pt x="124383" y="107564"/>
                    <a:pt x="140196" y="95629"/>
                    <a:pt x="158483" y="89628"/>
                  </a:cubicBezTo>
                  <a:cubicBezTo>
                    <a:pt x="180961" y="82484"/>
                    <a:pt x="204394" y="79075"/>
                    <a:pt x="227921" y="79532"/>
                  </a:cubicBezTo>
                  <a:cubicBezTo>
                    <a:pt x="250017" y="79179"/>
                    <a:pt x="272116" y="81151"/>
                    <a:pt x="293833" y="85437"/>
                  </a:cubicBezTo>
                  <a:cubicBezTo>
                    <a:pt x="308693" y="88380"/>
                    <a:pt x="322503" y="95334"/>
                    <a:pt x="333742" y="105535"/>
                  </a:cubicBezTo>
                  <a:cubicBezTo>
                    <a:pt x="344316" y="116317"/>
                    <a:pt x="351078" y="130329"/>
                    <a:pt x="352792" y="145349"/>
                  </a:cubicBezTo>
                  <a:lnTo>
                    <a:pt x="452423" y="145349"/>
                  </a:lnTo>
                  <a:cubicBezTo>
                    <a:pt x="450709" y="113812"/>
                    <a:pt x="438708" y="83713"/>
                    <a:pt x="418230" y="59624"/>
                  </a:cubicBezTo>
                  <a:cubicBezTo>
                    <a:pt x="398227" y="37546"/>
                    <a:pt x="372224" y="21705"/>
                    <a:pt x="343458" y="14000"/>
                  </a:cubicBezTo>
                  <a:cubicBezTo>
                    <a:pt x="305644" y="4018"/>
                    <a:pt x="266590" y="-669"/>
                    <a:pt x="227444" y="93"/>
                  </a:cubicBezTo>
                  <a:cubicBezTo>
                    <a:pt x="185535" y="-897"/>
                    <a:pt x="143719" y="6018"/>
                    <a:pt x="104382" y="20477"/>
                  </a:cubicBezTo>
                  <a:cubicBezTo>
                    <a:pt x="70854" y="33431"/>
                    <a:pt x="42753" y="57462"/>
                    <a:pt x="24847" y="88580"/>
                  </a:cubicBezTo>
                  <a:cubicBezTo>
                    <a:pt x="7225" y="118775"/>
                    <a:pt x="-2014" y="158970"/>
                    <a:pt x="-2584" y="208310"/>
                  </a:cubicBezTo>
                  <a:lnTo>
                    <a:pt x="-2584" y="208310"/>
                  </a:lnTo>
                  <a:lnTo>
                    <a:pt x="-2584" y="213072"/>
                  </a:lnTo>
                  <a:lnTo>
                    <a:pt x="2653" y="213072"/>
                  </a:lnTo>
                  <a:lnTo>
                    <a:pt x="-2584" y="213072"/>
                  </a:lnTo>
                  <a:lnTo>
                    <a:pt x="-2584" y="217644"/>
                  </a:lnTo>
                  <a:lnTo>
                    <a:pt x="-2584" y="217644"/>
                  </a:lnTo>
                  <a:cubicBezTo>
                    <a:pt x="-2014" y="266984"/>
                    <a:pt x="6941" y="307179"/>
                    <a:pt x="24847" y="337373"/>
                  </a:cubicBezTo>
                  <a:cubicBezTo>
                    <a:pt x="42753" y="368492"/>
                    <a:pt x="70854" y="392495"/>
                    <a:pt x="104382" y="405382"/>
                  </a:cubicBezTo>
                  <a:cubicBezTo>
                    <a:pt x="143719" y="419831"/>
                    <a:pt x="185535" y="426747"/>
                    <a:pt x="227444" y="425765"/>
                  </a:cubicBezTo>
                  <a:cubicBezTo>
                    <a:pt x="266590" y="426556"/>
                    <a:pt x="305644" y="421908"/>
                    <a:pt x="343458" y="411954"/>
                  </a:cubicBezTo>
                  <a:cubicBezTo>
                    <a:pt x="372319" y="404258"/>
                    <a:pt x="398227" y="388380"/>
                    <a:pt x="418230" y="366234"/>
                  </a:cubicBezTo>
                  <a:cubicBezTo>
                    <a:pt x="438612" y="342145"/>
                    <a:pt x="450709" y="312047"/>
                    <a:pt x="452423" y="280509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3200"/>
            </a:p>
          </p:txBody>
        </p:sp>
      </p:grp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3176EBB6-DDEB-441C-90C3-117575D6C68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0000" y="6552000"/>
            <a:ext cx="11232000" cy="107722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700"/>
            </a:lvl1pPr>
            <a:lvl2pPr marL="457212" indent="0">
              <a:lnSpc>
                <a:spcPct val="100000"/>
              </a:lnSpc>
              <a:spcBef>
                <a:spcPts val="0"/>
              </a:spcBef>
              <a:buNone/>
              <a:defRPr sz="667"/>
            </a:lvl2pPr>
            <a:lvl3pPr marL="914423" indent="0">
              <a:lnSpc>
                <a:spcPct val="100000"/>
              </a:lnSpc>
              <a:spcBef>
                <a:spcPts val="0"/>
              </a:spcBef>
              <a:buNone/>
              <a:defRPr sz="667"/>
            </a:lvl3pPr>
            <a:lvl4pPr marL="1371635" indent="0">
              <a:lnSpc>
                <a:spcPct val="100000"/>
              </a:lnSpc>
              <a:spcBef>
                <a:spcPts val="0"/>
              </a:spcBef>
              <a:buNone/>
              <a:defRPr sz="667"/>
            </a:lvl4pPr>
            <a:lvl5pPr marL="1828845" indent="0">
              <a:lnSpc>
                <a:spcPct val="100000"/>
              </a:lnSpc>
              <a:spcBef>
                <a:spcPts val="0"/>
              </a:spcBef>
              <a:buNone/>
              <a:defRPr sz="667"/>
            </a:lvl5pPr>
          </a:lstStyle>
          <a:p>
            <a:pPr lvl="0"/>
            <a:r>
              <a:rPr lang="ru-RU" dirty="0"/>
              <a:t>Ссылки и примечания</a:t>
            </a:r>
          </a:p>
        </p:txBody>
      </p:sp>
      <p:sp>
        <p:nvSpPr>
          <p:cNvPr id="14" name="Текст 11">
            <a:extLst>
              <a:ext uri="{FF2B5EF4-FFF2-40B4-BE49-F238E27FC236}">
                <a16:creationId xmlns:a16="http://schemas.microsoft.com/office/drawing/2014/main" id="{EBBFFA41-C42B-4C77-9F42-56F550793BB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80000" y="180001"/>
            <a:ext cx="1440000" cy="1938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1400">
                <a:solidFill>
                  <a:schemeClr val="accent1"/>
                </a:solidFill>
              </a:defRPr>
            </a:lvl1pPr>
          </a:lstStyle>
          <a:p>
            <a:pPr lvl="0"/>
            <a:r>
              <a:rPr lang="ru-RU" dirty="0"/>
              <a:t>Телеком</a:t>
            </a:r>
          </a:p>
        </p:txBody>
      </p:sp>
      <p:sp>
        <p:nvSpPr>
          <p:cNvPr id="15" name="Текст 11">
            <a:extLst>
              <a:ext uri="{FF2B5EF4-FFF2-40B4-BE49-F238E27FC236}">
                <a16:creationId xmlns:a16="http://schemas.microsoft.com/office/drawing/2014/main" id="{B39B7967-0FD0-472D-9DF3-EC7143E3260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519999" y="180001"/>
            <a:ext cx="1800000" cy="1938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1400">
                <a:solidFill>
                  <a:schemeClr val="accent1"/>
                </a:solidFill>
              </a:defRPr>
            </a:lvl1pPr>
          </a:lstStyle>
          <a:p>
            <a:pPr lvl="0"/>
            <a:r>
              <a:rPr lang="ru-RU" dirty="0"/>
              <a:t>Название главы</a:t>
            </a:r>
          </a:p>
        </p:txBody>
      </p:sp>
      <p:sp>
        <p:nvSpPr>
          <p:cNvPr id="16" name="Текст 11">
            <a:extLst>
              <a:ext uri="{FF2B5EF4-FFF2-40B4-BE49-F238E27FC236}">
                <a16:creationId xmlns:a16="http://schemas.microsoft.com/office/drawing/2014/main" id="{F127CD9C-B28F-4573-9D55-68C4F570262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860000" y="180001"/>
            <a:ext cx="2880000" cy="1938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1400">
                <a:solidFill>
                  <a:schemeClr val="accent1"/>
                </a:solidFill>
              </a:defRPr>
            </a:lvl1pPr>
          </a:lstStyle>
          <a:p>
            <a:pPr lvl="0"/>
            <a:r>
              <a:rPr lang="ru-RU" dirty="0"/>
              <a:t>Основное сообщение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16F91049-44AB-4CA1-B24F-982BDC820DA6}"/>
              </a:ext>
            </a:extLst>
          </p:cNvPr>
          <p:cNvSpPr txBox="1"/>
          <p:nvPr userDrawn="1"/>
        </p:nvSpPr>
        <p:spPr>
          <a:xfrm>
            <a:off x="180000" y="6528002"/>
            <a:ext cx="461856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fld id="{D4173914-8D64-4736-8A19-DA80CA0FDAB6}" type="slidenum">
              <a:rPr lang="ru-RU" sz="800" b="0" smtClean="0">
                <a:solidFill>
                  <a:srgbClr val="BBC1C7"/>
                </a:solidFill>
                <a:latin typeface="MTS Text" panose="020B0306020102020303" pitchFamily="34" charset="0"/>
                <a:ea typeface="MTS Text" panose="020B0306020102020303" pitchFamily="34" charset="0"/>
              </a:rPr>
              <a:pPr algn="l"/>
              <a:t>‹#›</a:t>
            </a:fld>
            <a:endParaRPr lang="ru-RU" sz="800" b="0" dirty="0">
              <a:solidFill>
                <a:srgbClr val="BBC1C7"/>
              </a:solidFill>
              <a:latin typeface="MTS Text" panose="020B0306020102020303" pitchFamily="34" charset="0"/>
              <a:ea typeface="MTS Text" panose="020B03060201020203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5661876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FAUL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1725965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Основной слайд_Изобржение и Текст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509266707" name="Picture Placeholder 22"/>
          <p:cNvSpPr>
            <a:spLocks noGrp="1"/>
          </p:cNvSpPr>
          <p:nvPr>
            <p:ph type="pic" sz="quarter" idx="14"/>
          </p:nvPr>
        </p:nvSpPr>
        <p:spPr bwMode="auto">
          <a:xfrm>
            <a:off x="515938" y="1418187"/>
            <a:ext cx="4752000" cy="4753145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buNone/>
              <a:defRPr sz="2800" b="0" i="0">
                <a:solidFill>
                  <a:schemeClr val="bg1">
                    <a:lumMod val="65000"/>
                  </a:schemeClr>
                </a:solidFill>
                <a:latin typeface="MTS Text Medium"/>
                <a:ea typeface="MTS Text Medium"/>
              </a:defRPr>
            </a:lvl1pPr>
          </a:lstStyle>
          <a:p>
            <a:pPr>
              <a:defRPr/>
            </a:pPr>
            <a:endParaRPr/>
          </a:p>
        </p:txBody>
      </p:sp>
      <p:sp>
        <p:nvSpPr>
          <p:cNvPr id="1169315559" name="Text Placeholder 14"/>
          <p:cNvSpPr>
            <a:spLocks noGrp="1"/>
          </p:cNvSpPr>
          <p:nvPr>
            <p:ph type="body" sz="quarter" idx="27" hasCustomPrompt="1"/>
          </p:nvPr>
        </p:nvSpPr>
        <p:spPr bwMode="auto">
          <a:xfrm>
            <a:off x="5796306" y="1418186"/>
            <a:ext cx="5405095" cy="4753145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>
              <a:lnSpc>
                <a:spcPct val="110000"/>
              </a:lnSpc>
              <a:spcBef>
                <a:spcPts val="0"/>
              </a:spcBef>
              <a:spcAft>
                <a:spcPts val="900"/>
              </a:spcAft>
              <a:buFontTx/>
              <a:buNone/>
              <a:defRPr sz="1800" b="0" i="0" spc="0">
                <a:latin typeface="MTS Text"/>
                <a:ea typeface="MTS Text"/>
              </a:defRPr>
            </a:lvl1pPr>
            <a:lvl2pPr marL="483751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01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53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04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lvl="0">
              <a:defRPr/>
            </a:pPr>
            <a:r>
              <a:rPr lang="ru-RU"/>
              <a:t>Основной текст слайда</a:t>
            </a:r>
            <a:endParaRPr/>
          </a:p>
        </p:txBody>
      </p:sp>
      <p:sp>
        <p:nvSpPr>
          <p:cNvPr id="485128539" name="Slide Number Placeholder 2"/>
          <p:cNvSpPr>
            <a:spLocks noGrp="1"/>
          </p:cNvSpPr>
          <p:nvPr>
            <p:ph type="sldNum" sz="quarter" idx="4"/>
          </p:nvPr>
        </p:nvSpPr>
        <p:spPr bwMode="auto">
          <a:xfrm>
            <a:off x="11478355" y="6504739"/>
            <a:ext cx="515937" cy="18188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r">
              <a:defRPr sz="900" b="0" i="0">
                <a:solidFill>
                  <a:schemeClr val="bg1">
                    <a:lumMod val="75000"/>
                  </a:schemeClr>
                </a:solidFill>
                <a:latin typeface="MTS Wide"/>
                <a:ea typeface="MTS Wide"/>
                <a:cs typeface="+mn-cs"/>
              </a:defRPr>
            </a:lvl1pPr>
          </a:lstStyle>
          <a:p>
            <a:pPr defTabSz="430123">
              <a:defRPr/>
            </a:pPr>
            <a:fld id="{A7E88AC1-0904-3C47-875C-3F6E82802988}" type="slidenum">
              <a:rPr lang="ru-RU"/>
              <a:t>‹#›</a:t>
            </a:fld>
            <a:endParaRPr lang="ru-RU"/>
          </a:p>
        </p:txBody>
      </p:sp>
      <p:sp>
        <p:nvSpPr>
          <p:cNvPr id="1035770587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515938" y="237170"/>
            <a:ext cx="10685463" cy="477172"/>
          </a:xfrm>
        </p:spPr>
        <p:txBody>
          <a:bodyPr/>
          <a:lstStyle>
            <a:lvl1pPr>
              <a:defRPr sz="3200"/>
            </a:lvl1pPr>
          </a:lstStyle>
          <a:p>
            <a:pPr>
              <a:defRPr/>
            </a:pPr>
            <a:r>
              <a:rPr lang="ru-RU"/>
              <a:t>Заголовок</a:t>
            </a:r>
            <a:endParaRPr/>
          </a:p>
        </p:txBody>
      </p:sp>
      <p:grpSp>
        <p:nvGrpSpPr>
          <p:cNvPr id="1354584373" name="Group 11"/>
          <p:cNvGrpSpPr/>
          <p:nvPr userDrawn="1"/>
        </p:nvGrpSpPr>
        <p:grpSpPr bwMode="auto">
          <a:xfrm>
            <a:off x="11421840" y="-373"/>
            <a:ext cx="770160" cy="770488"/>
            <a:chOff x="21540109" y="558527"/>
            <a:chExt cx="1637391" cy="1638000"/>
          </a:xfrm>
        </p:grpSpPr>
        <p:sp>
          <p:nvSpPr>
            <p:cNvPr id="16" name="Rectangle 12"/>
            <p:cNvSpPr/>
            <p:nvPr userDrawn="1"/>
          </p:nvSpPr>
          <p:spPr bwMode="auto">
            <a:xfrm>
              <a:off x="21540109" y="558527"/>
              <a:ext cx="1637391" cy="1638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defRPr/>
              </a:pPr>
              <a:endParaRPr sz="650">
                <a:latin typeface="Arial"/>
                <a:ea typeface="Arial"/>
                <a:cs typeface="Arial"/>
              </a:endParaRPr>
            </a:p>
          </p:txBody>
        </p:sp>
        <p:sp>
          <p:nvSpPr>
            <p:cNvPr id="17" name="Freeform 13"/>
            <p:cNvSpPr/>
            <p:nvPr/>
          </p:nvSpPr>
          <p:spPr bwMode="auto">
            <a:xfrm>
              <a:off x="22630884" y="683378"/>
              <a:ext cx="421355" cy="380147"/>
            </a:xfrm>
            <a:custGeom>
              <a:avLst/>
              <a:gdLst>
                <a:gd name="connsiteX0" fmla="*/ 0 w 421355"/>
                <a:gd name="connsiteY0" fmla="*/ 0 h 380147"/>
                <a:gd name="connsiteX1" fmla="*/ 0 w 421355"/>
                <a:gd name="connsiteY1" fmla="*/ 76412 h 380147"/>
                <a:gd name="connsiteX2" fmla="*/ 164694 w 421355"/>
                <a:gd name="connsiteY2" fmla="*/ 76412 h 380147"/>
                <a:gd name="connsiteX3" fmla="*/ 164694 w 421355"/>
                <a:gd name="connsiteY3" fmla="*/ 375235 h 380147"/>
                <a:gd name="connsiteX4" fmla="*/ 164694 w 421355"/>
                <a:gd name="connsiteY4" fmla="*/ 380148 h 380147"/>
                <a:gd name="connsiteX5" fmla="*/ 256797 w 421355"/>
                <a:gd name="connsiteY5" fmla="*/ 380148 h 380147"/>
                <a:gd name="connsiteX6" fmla="*/ 256797 w 421355"/>
                <a:gd name="connsiteY6" fmla="*/ 76412 h 380147"/>
                <a:gd name="connsiteX7" fmla="*/ 421355 w 421355"/>
                <a:gd name="connsiteY7" fmla="*/ 76412 h 380147"/>
                <a:gd name="connsiteX8" fmla="*/ 421355 w 421355"/>
                <a:gd name="connsiteY8" fmla="*/ 0 h 380147"/>
                <a:gd name="connsiteX9" fmla="*/ 0 w 421355"/>
                <a:gd name="connsiteY9" fmla="*/ 0 h 380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21355" h="380147" extrusionOk="0">
                  <a:moveTo>
                    <a:pt x="0" y="0"/>
                  </a:moveTo>
                  <a:lnTo>
                    <a:pt x="0" y="76412"/>
                  </a:lnTo>
                  <a:lnTo>
                    <a:pt x="164694" y="76412"/>
                  </a:lnTo>
                  <a:lnTo>
                    <a:pt x="164694" y="375235"/>
                  </a:lnTo>
                  <a:lnTo>
                    <a:pt x="164694" y="380148"/>
                  </a:lnTo>
                  <a:lnTo>
                    <a:pt x="256797" y="380148"/>
                  </a:lnTo>
                  <a:lnTo>
                    <a:pt x="256797" y="76412"/>
                  </a:lnTo>
                  <a:lnTo>
                    <a:pt x="421355" y="76412"/>
                  </a:lnTo>
                  <a:lnTo>
                    <a:pt x="421355" y="0"/>
                  </a:lnTo>
                  <a:lnTo>
                    <a:pt x="0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sz="650"/>
            </a:p>
          </p:txBody>
        </p:sp>
        <p:sp>
          <p:nvSpPr>
            <p:cNvPr id="18" name="Freeform 14"/>
            <p:cNvSpPr/>
            <p:nvPr/>
          </p:nvSpPr>
          <p:spPr bwMode="auto">
            <a:xfrm>
              <a:off x="21666188" y="684469"/>
              <a:ext cx="503634" cy="377826"/>
            </a:xfrm>
            <a:custGeom>
              <a:avLst/>
              <a:gdLst>
                <a:gd name="connsiteX0" fmla="*/ 372097 w 503634"/>
                <a:gd name="connsiteY0" fmla="*/ 0 h 377827"/>
                <a:gd name="connsiteX1" fmla="*/ 251749 w 503634"/>
                <a:gd name="connsiteY1" fmla="*/ 249975 h 377827"/>
                <a:gd name="connsiteX2" fmla="*/ 131401 w 503634"/>
                <a:gd name="connsiteY2" fmla="*/ 0 h 377827"/>
                <a:gd name="connsiteX3" fmla="*/ 0 w 503634"/>
                <a:gd name="connsiteY3" fmla="*/ 0 h 377827"/>
                <a:gd name="connsiteX4" fmla="*/ 0 w 503634"/>
                <a:gd name="connsiteY4" fmla="*/ 377828 h 377827"/>
                <a:gd name="connsiteX5" fmla="*/ 92103 w 503634"/>
                <a:gd name="connsiteY5" fmla="*/ 377828 h 377827"/>
                <a:gd name="connsiteX6" fmla="*/ 92103 w 503634"/>
                <a:gd name="connsiteY6" fmla="*/ 107522 h 377827"/>
                <a:gd name="connsiteX7" fmla="*/ 209859 w 503634"/>
                <a:gd name="connsiteY7" fmla="*/ 335938 h 377827"/>
                <a:gd name="connsiteX8" fmla="*/ 293775 w 503634"/>
                <a:gd name="connsiteY8" fmla="*/ 335938 h 377827"/>
                <a:gd name="connsiteX9" fmla="*/ 411531 w 503634"/>
                <a:gd name="connsiteY9" fmla="*/ 107522 h 377827"/>
                <a:gd name="connsiteX10" fmla="*/ 411531 w 503634"/>
                <a:gd name="connsiteY10" fmla="*/ 377828 h 377827"/>
                <a:gd name="connsiteX11" fmla="*/ 503634 w 503634"/>
                <a:gd name="connsiteY11" fmla="*/ 377828 h 377827"/>
                <a:gd name="connsiteX12" fmla="*/ 503634 w 503634"/>
                <a:gd name="connsiteY12" fmla="*/ 0 h 377827"/>
                <a:gd name="connsiteX13" fmla="*/ 372097 w 503634"/>
                <a:gd name="connsiteY13" fmla="*/ 0 h 377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3634" h="377827" extrusionOk="0">
                  <a:moveTo>
                    <a:pt x="372097" y="0"/>
                  </a:moveTo>
                  <a:lnTo>
                    <a:pt x="251749" y="249975"/>
                  </a:lnTo>
                  <a:lnTo>
                    <a:pt x="131401" y="0"/>
                  </a:lnTo>
                  <a:lnTo>
                    <a:pt x="0" y="0"/>
                  </a:lnTo>
                  <a:lnTo>
                    <a:pt x="0" y="377828"/>
                  </a:lnTo>
                  <a:lnTo>
                    <a:pt x="92103" y="377828"/>
                  </a:lnTo>
                  <a:lnTo>
                    <a:pt x="92103" y="107522"/>
                  </a:lnTo>
                  <a:lnTo>
                    <a:pt x="209859" y="335938"/>
                  </a:lnTo>
                  <a:lnTo>
                    <a:pt x="293775" y="335938"/>
                  </a:lnTo>
                  <a:lnTo>
                    <a:pt x="411531" y="107522"/>
                  </a:lnTo>
                  <a:lnTo>
                    <a:pt x="411531" y="377828"/>
                  </a:lnTo>
                  <a:lnTo>
                    <a:pt x="503634" y="377828"/>
                  </a:lnTo>
                  <a:lnTo>
                    <a:pt x="503634" y="0"/>
                  </a:lnTo>
                  <a:lnTo>
                    <a:pt x="372097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sz="650"/>
            </a:p>
          </p:txBody>
        </p:sp>
        <p:sp>
          <p:nvSpPr>
            <p:cNvPr id="19" name="Freeform 15"/>
            <p:cNvSpPr/>
            <p:nvPr/>
          </p:nvSpPr>
          <p:spPr bwMode="auto">
            <a:xfrm>
              <a:off x="22631020" y="1683754"/>
              <a:ext cx="420946" cy="394205"/>
            </a:xfrm>
            <a:custGeom>
              <a:avLst/>
              <a:gdLst>
                <a:gd name="connsiteX0" fmla="*/ 328843 w 420946"/>
                <a:gd name="connsiteY0" fmla="*/ 260278 h 394205"/>
                <a:gd name="connsiteX1" fmla="*/ 310831 w 420946"/>
                <a:gd name="connsiteY1" fmla="*/ 297119 h 394205"/>
                <a:gd name="connsiteX2" fmla="*/ 273990 w 420946"/>
                <a:gd name="connsiteY2" fmla="*/ 315676 h 394205"/>
                <a:gd name="connsiteX3" fmla="*/ 212997 w 420946"/>
                <a:gd name="connsiteY3" fmla="*/ 321134 h 394205"/>
                <a:gd name="connsiteX4" fmla="*/ 148730 w 420946"/>
                <a:gd name="connsiteY4" fmla="*/ 311719 h 394205"/>
                <a:gd name="connsiteX5" fmla="*/ 106976 w 420946"/>
                <a:gd name="connsiteY5" fmla="*/ 280200 h 394205"/>
                <a:gd name="connsiteX6" fmla="*/ 91967 w 420946"/>
                <a:gd name="connsiteY6" fmla="*/ 216614 h 394205"/>
                <a:gd name="connsiteX7" fmla="*/ 91967 w 420946"/>
                <a:gd name="connsiteY7" fmla="*/ 177863 h 394205"/>
                <a:gd name="connsiteX8" fmla="*/ 106976 w 420946"/>
                <a:gd name="connsiteY8" fmla="*/ 114004 h 394205"/>
                <a:gd name="connsiteX9" fmla="*/ 148593 w 420946"/>
                <a:gd name="connsiteY9" fmla="*/ 82621 h 394205"/>
                <a:gd name="connsiteX10" fmla="*/ 212861 w 420946"/>
                <a:gd name="connsiteY10" fmla="*/ 73206 h 394205"/>
                <a:gd name="connsiteX11" fmla="*/ 273854 w 420946"/>
                <a:gd name="connsiteY11" fmla="*/ 78800 h 394205"/>
                <a:gd name="connsiteX12" fmla="*/ 310695 w 420946"/>
                <a:gd name="connsiteY12" fmla="*/ 97358 h 394205"/>
                <a:gd name="connsiteX13" fmla="*/ 328706 w 420946"/>
                <a:gd name="connsiteY13" fmla="*/ 134199 h 394205"/>
                <a:gd name="connsiteX14" fmla="*/ 420946 w 420946"/>
                <a:gd name="connsiteY14" fmla="*/ 134199 h 394205"/>
                <a:gd name="connsiteX15" fmla="*/ 389426 w 420946"/>
                <a:gd name="connsiteY15" fmla="*/ 55195 h 394205"/>
                <a:gd name="connsiteX16" fmla="*/ 320110 w 420946"/>
                <a:gd name="connsiteY16" fmla="*/ 12896 h 394205"/>
                <a:gd name="connsiteX17" fmla="*/ 212997 w 420946"/>
                <a:gd name="connsiteY17" fmla="*/ 69 h 394205"/>
                <a:gd name="connsiteX18" fmla="*/ 99062 w 420946"/>
                <a:gd name="connsiteY18" fmla="*/ 18899 h 394205"/>
                <a:gd name="connsiteX19" fmla="*/ 25380 w 420946"/>
                <a:gd name="connsiteY19" fmla="*/ 81939 h 394205"/>
                <a:gd name="connsiteX20" fmla="*/ 0 w 420946"/>
                <a:gd name="connsiteY20" fmla="*/ 192736 h 394205"/>
                <a:gd name="connsiteX21" fmla="*/ 0 w 420946"/>
                <a:gd name="connsiteY21" fmla="*/ 196966 h 394205"/>
                <a:gd name="connsiteX22" fmla="*/ 4912 w 420946"/>
                <a:gd name="connsiteY22" fmla="*/ 197102 h 394205"/>
                <a:gd name="connsiteX23" fmla="*/ 0 w 420946"/>
                <a:gd name="connsiteY23" fmla="*/ 197102 h 394205"/>
                <a:gd name="connsiteX24" fmla="*/ 0 w 420946"/>
                <a:gd name="connsiteY24" fmla="*/ 201332 h 394205"/>
                <a:gd name="connsiteX25" fmla="*/ 25380 w 420946"/>
                <a:gd name="connsiteY25" fmla="*/ 312129 h 394205"/>
                <a:gd name="connsiteX26" fmla="*/ 99062 w 420946"/>
                <a:gd name="connsiteY26" fmla="*/ 375168 h 394205"/>
                <a:gd name="connsiteX27" fmla="*/ 212997 w 420946"/>
                <a:gd name="connsiteY27" fmla="*/ 394135 h 394205"/>
                <a:gd name="connsiteX28" fmla="*/ 320110 w 420946"/>
                <a:gd name="connsiteY28" fmla="*/ 381308 h 394205"/>
                <a:gd name="connsiteX29" fmla="*/ 389426 w 420946"/>
                <a:gd name="connsiteY29" fmla="*/ 339009 h 394205"/>
                <a:gd name="connsiteX30" fmla="*/ 420946 w 420946"/>
                <a:gd name="connsiteY30" fmla="*/ 260005 h 394205"/>
                <a:gd name="connsiteX31" fmla="*/ 328843 w 420946"/>
                <a:gd name="connsiteY31" fmla="*/ 260278 h 394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420946" h="394205" extrusionOk="0">
                  <a:moveTo>
                    <a:pt x="328843" y="260278"/>
                  </a:moveTo>
                  <a:cubicBezTo>
                    <a:pt x="327069" y="274196"/>
                    <a:pt x="320792" y="287158"/>
                    <a:pt x="310831" y="297119"/>
                  </a:cubicBezTo>
                  <a:cubicBezTo>
                    <a:pt x="300461" y="306534"/>
                    <a:pt x="287772" y="312947"/>
                    <a:pt x="273990" y="315676"/>
                  </a:cubicBezTo>
                  <a:cubicBezTo>
                    <a:pt x="253932" y="319633"/>
                    <a:pt x="233465" y="321544"/>
                    <a:pt x="212997" y="321134"/>
                  </a:cubicBezTo>
                  <a:cubicBezTo>
                    <a:pt x="191165" y="321544"/>
                    <a:pt x="169470" y="318269"/>
                    <a:pt x="148730" y="311719"/>
                  </a:cubicBezTo>
                  <a:cubicBezTo>
                    <a:pt x="131674" y="306261"/>
                    <a:pt x="117073" y="295072"/>
                    <a:pt x="106976" y="280200"/>
                  </a:cubicBezTo>
                  <a:cubicBezTo>
                    <a:pt x="96879" y="265327"/>
                    <a:pt x="91967" y="243904"/>
                    <a:pt x="91967" y="216614"/>
                  </a:cubicBezTo>
                  <a:lnTo>
                    <a:pt x="91967" y="177863"/>
                  </a:lnTo>
                  <a:cubicBezTo>
                    <a:pt x="91967" y="150436"/>
                    <a:pt x="97015" y="128877"/>
                    <a:pt x="106976" y="114004"/>
                  </a:cubicBezTo>
                  <a:cubicBezTo>
                    <a:pt x="116937" y="99131"/>
                    <a:pt x="131537" y="88079"/>
                    <a:pt x="148593" y="82621"/>
                  </a:cubicBezTo>
                  <a:cubicBezTo>
                    <a:pt x="169334" y="75935"/>
                    <a:pt x="191029" y="72797"/>
                    <a:pt x="212861" y="73206"/>
                  </a:cubicBezTo>
                  <a:cubicBezTo>
                    <a:pt x="233328" y="72933"/>
                    <a:pt x="253796" y="74707"/>
                    <a:pt x="273854" y="78800"/>
                  </a:cubicBezTo>
                  <a:cubicBezTo>
                    <a:pt x="287635" y="81529"/>
                    <a:pt x="300325" y="87943"/>
                    <a:pt x="310695" y="97358"/>
                  </a:cubicBezTo>
                  <a:cubicBezTo>
                    <a:pt x="320656" y="107318"/>
                    <a:pt x="327069" y="120281"/>
                    <a:pt x="328706" y="134199"/>
                  </a:cubicBezTo>
                  <a:lnTo>
                    <a:pt x="420946" y="134199"/>
                  </a:lnTo>
                  <a:cubicBezTo>
                    <a:pt x="419309" y="105135"/>
                    <a:pt x="408120" y="77436"/>
                    <a:pt x="389426" y="55195"/>
                  </a:cubicBezTo>
                  <a:cubicBezTo>
                    <a:pt x="370869" y="34727"/>
                    <a:pt x="346854" y="20127"/>
                    <a:pt x="320110" y="12896"/>
                  </a:cubicBezTo>
                  <a:cubicBezTo>
                    <a:pt x="285179" y="3753"/>
                    <a:pt x="249020" y="-613"/>
                    <a:pt x="212997" y="69"/>
                  </a:cubicBezTo>
                  <a:cubicBezTo>
                    <a:pt x="168788" y="69"/>
                    <a:pt x="130582" y="6482"/>
                    <a:pt x="99062" y="18899"/>
                  </a:cubicBezTo>
                  <a:cubicBezTo>
                    <a:pt x="68088" y="30907"/>
                    <a:pt x="42026" y="53148"/>
                    <a:pt x="25380" y="81939"/>
                  </a:cubicBezTo>
                  <a:cubicBezTo>
                    <a:pt x="9142" y="109911"/>
                    <a:pt x="546" y="147025"/>
                    <a:pt x="0" y="192736"/>
                  </a:cubicBezTo>
                  <a:lnTo>
                    <a:pt x="0" y="196966"/>
                  </a:lnTo>
                  <a:lnTo>
                    <a:pt x="4912" y="197102"/>
                  </a:lnTo>
                  <a:lnTo>
                    <a:pt x="0" y="197102"/>
                  </a:lnTo>
                  <a:lnTo>
                    <a:pt x="0" y="201332"/>
                  </a:lnTo>
                  <a:cubicBezTo>
                    <a:pt x="546" y="247042"/>
                    <a:pt x="9142" y="284293"/>
                    <a:pt x="25380" y="312129"/>
                  </a:cubicBezTo>
                  <a:cubicBezTo>
                    <a:pt x="42026" y="340919"/>
                    <a:pt x="67952" y="363161"/>
                    <a:pt x="99062" y="375168"/>
                  </a:cubicBezTo>
                  <a:cubicBezTo>
                    <a:pt x="130446" y="387722"/>
                    <a:pt x="168788" y="394135"/>
                    <a:pt x="212997" y="394135"/>
                  </a:cubicBezTo>
                  <a:cubicBezTo>
                    <a:pt x="249156" y="394817"/>
                    <a:pt x="285179" y="390587"/>
                    <a:pt x="320110" y="381308"/>
                  </a:cubicBezTo>
                  <a:cubicBezTo>
                    <a:pt x="346718" y="374213"/>
                    <a:pt x="370869" y="359477"/>
                    <a:pt x="389426" y="339009"/>
                  </a:cubicBezTo>
                  <a:cubicBezTo>
                    <a:pt x="408256" y="316768"/>
                    <a:pt x="419309" y="289069"/>
                    <a:pt x="420946" y="260005"/>
                  </a:cubicBezTo>
                  <a:lnTo>
                    <a:pt x="328843" y="260278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sz="650"/>
            </a:p>
          </p:txBody>
        </p:sp>
      </p:grp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Слайд с выводами_заключительный">
    <p:bg>
      <p:bgPr>
        <a:blipFill>
          <a:blip r:embed="rId2">
            <a:lum/>
          </a:blip>
          <a:stretch/>
        </a:blipFill>
        <a:effectLst/>
      </p:bgPr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305450530" name="Текст 8"/>
          <p:cNvSpPr>
            <a:spLocks noGrp="1"/>
          </p:cNvSpPr>
          <p:nvPr>
            <p:ph type="body" sz="quarter" idx="10" hasCustomPrompt="1"/>
          </p:nvPr>
        </p:nvSpPr>
        <p:spPr bwMode="auto">
          <a:xfrm>
            <a:off x="493179" y="2167128"/>
            <a:ext cx="6642609" cy="3397428"/>
          </a:xfrm>
        </p:spPr>
        <p:txBody>
          <a:bodyPr lIns="0" rIns="0"/>
          <a:lstStyle>
            <a:lvl1pPr marL="0" indent="0" algn="l" defTabSz="2056817">
              <a:lnSpc>
                <a:spcPct val="110000"/>
              </a:lnSpc>
              <a:spcBef>
                <a:spcPts val="0"/>
              </a:spcBef>
              <a:spcAft>
                <a:spcPts val="900"/>
              </a:spcAft>
              <a:buFont typeface="Arial"/>
              <a:buNone/>
              <a:defRPr lang="ru-RU" sz="1800">
                <a:solidFill>
                  <a:schemeClr val="tx1"/>
                </a:solidFill>
                <a:latin typeface="+mn-lt"/>
                <a:ea typeface="MTS Text Medium"/>
                <a:cs typeface="+mn-cs"/>
              </a:defRPr>
            </a:lvl1pPr>
          </a:lstStyle>
          <a:p>
            <a:pPr lvl="0">
              <a:defRPr/>
            </a:pPr>
            <a:r>
              <a:rPr lang="ru-RU"/>
              <a:t>Немного текста для финальных выводов презентации</a:t>
            </a:r>
            <a:endParaRPr/>
          </a:p>
        </p:txBody>
      </p:sp>
      <p:sp>
        <p:nvSpPr>
          <p:cNvPr id="617064482" name="Заголовок 1"/>
          <p:cNvSpPr>
            <a:spLocks noGrp="1"/>
          </p:cNvSpPr>
          <p:nvPr>
            <p:ph type="title" hasCustomPrompt="1"/>
          </p:nvPr>
        </p:nvSpPr>
        <p:spPr bwMode="auto">
          <a:xfrm>
            <a:off x="493179" y="365760"/>
            <a:ext cx="8046687" cy="1536192"/>
          </a:xfrm>
        </p:spPr>
        <p:txBody>
          <a:bodyPr wrap="square" anchor="t"/>
          <a:lstStyle>
            <a:lvl1pPr marL="0" indent="0" algn="l" defTabSz="914400">
              <a:lnSpc>
                <a:spcPct val="90000"/>
              </a:lnSpc>
              <a:spcBef>
                <a:spcPts val="0"/>
              </a:spcBef>
              <a:buNone/>
              <a:defRPr lang="ru-RU" sz="4000" cap="none">
                <a:solidFill>
                  <a:srgbClr val="000000">
                    <a:alpha val="100000"/>
                  </a:srgbClr>
                </a:solidFill>
                <a:latin typeface="MTS Wide Medium"/>
                <a:ea typeface="MTS Wide Medium"/>
                <a:cs typeface="MTS Wide Medium"/>
              </a:defRPr>
            </a:lvl1pPr>
          </a:lstStyle>
          <a:p>
            <a:pPr>
              <a:defRPr/>
            </a:pPr>
            <a:r>
              <a:rPr lang="ru-RU"/>
              <a:t>Выводы</a:t>
            </a:r>
            <a:endParaRPr/>
          </a:p>
        </p:txBody>
      </p:sp>
      <p:sp>
        <p:nvSpPr>
          <p:cNvPr id="1253543899" name="Slide Number Placeholder 2"/>
          <p:cNvSpPr>
            <a:spLocks noGrp="1"/>
          </p:cNvSpPr>
          <p:nvPr>
            <p:ph type="sldNum" sz="quarter" idx="4"/>
          </p:nvPr>
        </p:nvSpPr>
        <p:spPr bwMode="auto">
          <a:xfrm>
            <a:off x="11478355" y="6504739"/>
            <a:ext cx="515937" cy="18188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r">
              <a:defRPr sz="900" b="0" i="0">
                <a:solidFill>
                  <a:schemeClr val="bg1">
                    <a:lumMod val="75000"/>
                  </a:schemeClr>
                </a:solidFill>
                <a:latin typeface="MTS Wide"/>
                <a:ea typeface="MTS Wide"/>
                <a:cs typeface="+mn-cs"/>
              </a:defRPr>
            </a:lvl1pPr>
          </a:lstStyle>
          <a:p>
            <a:pPr defTabSz="430123">
              <a:defRPr/>
            </a:pPr>
            <a:fld id="{A7E88AC1-0904-3C47-875C-3F6E82802988}" type="slidenum">
              <a:rPr lang="ru-RU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DEFAUL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5761068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Обложка / Буквы МТС">
    <p:bg>
      <p:bgPr>
        <a:solidFill>
          <a:srgbClr val="FF003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EC4B86A-8645-48E1-ADF7-F38293A424E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1" name="Слайд think-cell" r:id="rId4" imgW="359" imgH="367" progId="TCLayout.ActiveDocument.1">
                  <p:embed/>
                </p:oleObj>
              </mc:Choice>
              <mc:Fallback>
                <p:oleObj name="Слайд think-cell" r:id="rId4" imgW="359" imgH="367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EC4B86A-8645-48E1-ADF7-F38293A424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Рисунок 8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96871" y="2082600"/>
            <a:ext cx="3966565" cy="4064000"/>
          </a:xfrm>
          <a:prstGeom prst="rect">
            <a:avLst/>
          </a:prstGeom>
        </p:spPr>
      </p:pic>
      <p:pic>
        <p:nvPicPr>
          <p:cNvPr id="11" name="Рисунок 10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96871" y="5093725"/>
            <a:ext cx="1395678" cy="1278775"/>
          </a:xfrm>
          <a:prstGeom prst="rect">
            <a:avLst/>
          </a:prstGeom>
        </p:spPr>
      </p:pic>
      <p:sp>
        <p:nvSpPr>
          <p:cNvPr id="26" name="Freeform 20">
            <a:extLst>
              <a:ext uri="{FF2B5EF4-FFF2-40B4-BE49-F238E27FC236}">
                <a16:creationId xmlns:a16="http://schemas.microsoft.com/office/drawing/2014/main" id="{5C367A32-6BF4-4720-8724-8D50F2427886}"/>
              </a:ext>
            </a:extLst>
          </p:cNvPr>
          <p:cNvSpPr>
            <a:spLocks/>
          </p:cNvSpPr>
          <p:nvPr/>
        </p:nvSpPr>
        <p:spPr bwMode="auto">
          <a:xfrm>
            <a:off x="360363" y="360000"/>
            <a:ext cx="960967" cy="718027"/>
          </a:xfrm>
          <a:custGeom>
            <a:avLst/>
            <a:gdLst>
              <a:gd name="T0" fmla="*/ 593 w 802"/>
              <a:gd name="T1" fmla="*/ 0 h 602"/>
              <a:gd name="T2" fmla="*/ 401 w 802"/>
              <a:gd name="T3" fmla="*/ 398 h 602"/>
              <a:gd name="T4" fmla="*/ 209 w 802"/>
              <a:gd name="T5" fmla="*/ 0 h 602"/>
              <a:gd name="T6" fmla="*/ 0 w 802"/>
              <a:gd name="T7" fmla="*/ 0 h 602"/>
              <a:gd name="T8" fmla="*/ 0 w 802"/>
              <a:gd name="T9" fmla="*/ 602 h 602"/>
              <a:gd name="T10" fmla="*/ 147 w 802"/>
              <a:gd name="T11" fmla="*/ 602 h 602"/>
              <a:gd name="T12" fmla="*/ 147 w 802"/>
              <a:gd name="T13" fmla="*/ 171 h 602"/>
              <a:gd name="T14" fmla="*/ 334 w 802"/>
              <a:gd name="T15" fmla="*/ 535 h 602"/>
              <a:gd name="T16" fmla="*/ 468 w 802"/>
              <a:gd name="T17" fmla="*/ 535 h 602"/>
              <a:gd name="T18" fmla="*/ 655 w 802"/>
              <a:gd name="T19" fmla="*/ 171 h 602"/>
              <a:gd name="T20" fmla="*/ 655 w 802"/>
              <a:gd name="T21" fmla="*/ 602 h 602"/>
              <a:gd name="T22" fmla="*/ 802 w 802"/>
              <a:gd name="T23" fmla="*/ 602 h 602"/>
              <a:gd name="T24" fmla="*/ 802 w 802"/>
              <a:gd name="T25" fmla="*/ 0 h 602"/>
              <a:gd name="T26" fmla="*/ 593 w 802"/>
              <a:gd name="T27" fmla="*/ 0 h 6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802" h="602">
                <a:moveTo>
                  <a:pt x="593" y="0"/>
                </a:moveTo>
                <a:lnTo>
                  <a:pt x="401" y="398"/>
                </a:lnTo>
                <a:lnTo>
                  <a:pt x="209" y="0"/>
                </a:lnTo>
                <a:lnTo>
                  <a:pt x="0" y="0"/>
                </a:lnTo>
                <a:lnTo>
                  <a:pt x="0" y="602"/>
                </a:lnTo>
                <a:lnTo>
                  <a:pt x="147" y="602"/>
                </a:lnTo>
                <a:lnTo>
                  <a:pt x="147" y="171"/>
                </a:lnTo>
                <a:lnTo>
                  <a:pt x="334" y="535"/>
                </a:lnTo>
                <a:lnTo>
                  <a:pt x="468" y="535"/>
                </a:lnTo>
                <a:lnTo>
                  <a:pt x="655" y="171"/>
                </a:lnTo>
                <a:lnTo>
                  <a:pt x="655" y="602"/>
                </a:lnTo>
                <a:lnTo>
                  <a:pt x="802" y="602"/>
                </a:lnTo>
                <a:lnTo>
                  <a:pt x="802" y="0"/>
                </a:lnTo>
                <a:lnTo>
                  <a:pt x="593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3200"/>
          </a:p>
        </p:txBody>
      </p:sp>
      <p:sp>
        <p:nvSpPr>
          <p:cNvPr id="27" name="Freeform 21">
            <a:extLst>
              <a:ext uri="{FF2B5EF4-FFF2-40B4-BE49-F238E27FC236}">
                <a16:creationId xmlns:a16="http://schemas.microsoft.com/office/drawing/2014/main" id="{8267C95A-297C-429C-A04B-A3DCA86EBA18}"/>
              </a:ext>
            </a:extLst>
          </p:cNvPr>
          <p:cNvSpPr>
            <a:spLocks/>
          </p:cNvSpPr>
          <p:nvPr/>
        </p:nvSpPr>
        <p:spPr bwMode="auto">
          <a:xfrm>
            <a:off x="11031312" y="360000"/>
            <a:ext cx="800325" cy="718027"/>
          </a:xfrm>
          <a:custGeom>
            <a:avLst/>
            <a:gdLst>
              <a:gd name="T0" fmla="*/ 0 w 671"/>
              <a:gd name="T1" fmla="*/ 0 h 602"/>
              <a:gd name="T2" fmla="*/ 0 w 671"/>
              <a:gd name="T3" fmla="*/ 120 h 602"/>
              <a:gd name="T4" fmla="*/ 262 w 671"/>
              <a:gd name="T5" fmla="*/ 120 h 602"/>
              <a:gd name="T6" fmla="*/ 262 w 671"/>
              <a:gd name="T7" fmla="*/ 602 h 602"/>
              <a:gd name="T8" fmla="*/ 408 w 671"/>
              <a:gd name="T9" fmla="*/ 602 h 602"/>
              <a:gd name="T10" fmla="*/ 409 w 671"/>
              <a:gd name="T11" fmla="*/ 120 h 602"/>
              <a:gd name="T12" fmla="*/ 671 w 671"/>
              <a:gd name="T13" fmla="*/ 120 h 602"/>
              <a:gd name="T14" fmla="*/ 671 w 671"/>
              <a:gd name="T15" fmla="*/ 0 h 602"/>
              <a:gd name="T16" fmla="*/ 0 w 671"/>
              <a:gd name="T17" fmla="*/ 0 h 6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671" h="602">
                <a:moveTo>
                  <a:pt x="0" y="0"/>
                </a:moveTo>
                <a:lnTo>
                  <a:pt x="0" y="120"/>
                </a:lnTo>
                <a:lnTo>
                  <a:pt x="262" y="120"/>
                </a:lnTo>
                <a:lnTo>
                  <a:pt x="262" y="602"/>
                </a:lnTo>
                <a:lnTo>
                  <a:pt x="408" y="602"/>
                </a:lnTo>
                <a:lnTo>
                  <a:pt x="409" y="120"/>
                </a:lnTo>
                <a:lnTo>
                  <a:pt x="671" y="120"/>
                </a:lnTo>
                <a:lnTo>
                  <a:pt x="671" y="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3200"/>
          </a:p>
        </p:txBody>
      </p:sp>
      <p:sp>
        <p:nvSpPr>
          <p:cNvPr id="28" name="Freeform 22">
            <a:extLst>
              <a:ext uri="{FF2B5EF4-FFF2-40B4-BE49-F238E27FC236}">
                <a16:creationId xmlns:a16="http://schemas.microsoft.com/office/drawing/2014/main" id="{B8C3FF70-2561-48B7-8928-382B87899C5B}"/>
              </a:ext>
            </a:extLst>
          </p:cNvPr>
          <p:cNvSpPr>
            <a:spLocks/>
          </p:cNvSpPr>
          <p:nvPr/>
        </p:nvSpPr>
        <p:spPr bwMode="auto">
          <a:xfrm>
            <a:off x="11031311" y="5759450"/>
            <a:ext cx="800325" cy="749037"/>
          </a:xfrm>
          <a:custGeom>
            <a:avLst/>
            <a:gdLst>
              <a:gd name="T0" fmla="*/ 9420 w 12059"/>
              <a:gd name="T1" fmla="*/ 7441 h 11278"/>
              <a:gd name="T2" fmla="*/ 8901 w 12059"/>
              <a:gd name="T3" fmla="*/ 8493 h 11278"/>
              <a:gd name="T4" fmla="*/ 7843 w 12059"/>
              <a:gd name="T5" fmla="*/ 9028 h 11278"/>
              <a:gd name="T6" fmla="*/ 6096 w 12059"/>
              <a:gd name="T7" fmla="*/ 9188 h 11278"/>
              <a:gd name="T8" fmla="*/ 4255 w 12059"/>
              <a:gd name="T9" fmla="*/ 8918 h 11278"/>
              <a:gd name="T10" fmla="*/ 3064 w 12059"/>
              <a:gd name="T11" fmla="*/ 8020 h 11278"/>
              <a:gd name="T12" fmla="*/ 2634 w 12059"/>
              <a:gd name="T13" fmla="*/ 6194 h 11278"/>
              <a:gd name="T14" fmla="*/ 2634 w 12059"/>
              <a:gd name="T15" fmla="*/ 5087 h 11278"/>
              <a:gd name="T16" fmla="*/ 3064 w 12059"/>
              <a:gd name="T17" fmla="*/ 3262 h 11278"/>
              <a:gd name="T18" fmla="*/ 4255 w 12059"/>
              <a:gd name="T19" fmla="*/ 2364 h 11278"/>
              <a:gd name="T20" fmla="*/ 6096 w 12059"/>
              <a:gd name="T21" fmla="*/ 2094 h 11278"/>
              <a:gd name="T22" fmla="*/ 7843 w 12059"/>
              <a:gd name="T23" fmla="*/ 2254 h 11278"/>
              <a:gd name="T24" fmla="*/ 8901 w 12059"/>
              <a:gd name="T25" fmla="*/ 2789 h 11278"/>
              <a:gd name="T26" fmla="*/ 9420 w 12059"/>
              <a:gd name="T27" fmla="*/ 3842 h 11278"/>
              <a:gd name="T28" fmla="*/ 12059 w 12059"/>
              <a:gd name="T29" fmla="*/ 3842 h 11278"/>
              <a:gd name="T30" fmla="*/ 11155 w 12059"/>
              <a:gd name="T31" fmla="*/ 1581 h 11278"/>
              <a:gd name="T32" fmla="*/ 9171 w 12059"/>
              <a:gd name="T33" fmla="*/ 369 h 11278"/>
              <a:gd name="T34" fmla="*/ 6102 w 12059"/>
              <a:gd name="T35" fmla="*/ 0 h 11278"/>
              <a:gd name="T36" fmla="*/ 2838 w 12059"/>
              <a:gd name="T37" fmla="*/ 540 h 11278"/>
              <a:gd name="T38" fmla="*/ 728 w 12059"/>
              <a:gd name="T39" fmla="*/ 2342 h 11278"/>
              <a:gd name="T40" fmla="*/ 0 w 12059"/>
              <a:gd name="T41" fmla="*/ 5512 h 11278"/>
              <a:gd name="T42" fmla="*/ 0 w 12059"/>
              <a:gd name="T43" fmla="*/ 5634 h 11278"/>
              <a:gd name="T44" fmla="*/ 143 w 12059"/>
              <a:gd name="T45" fmla="*/ 5638 h 11278"/>
              <a:gd name="T46" fmla="*/ 0 w 12059"/>
              <a:gd name="T47" fmla="*/ 5644 h 11278"/>
              <a:gd name="T48" fmla="*/ 0 w 12059"/>
              <a:gd name="T49" fmla="*/ 5765 h 11278"/>
              <a:gd name="T50" fmla="*/ 728 w 12059"/>
              <a:gd name="T51" fmla="*/ 8934 h 11278"/>
              <a:gd name="T52" fmla="*/ 2838 w 12059"/>
              <a:gd name="T53" fmla="*/ 10738 h 11278"/>
              <a:gd name="T54" fmla="*/ 6102 w 12059"/>
              <a:gd name="T55" fmla="*/ 11278 h 11278"/>
              <a:gd name="T56" fmla="*/ 9171 w 12059"/>
              <a:gd name="T57" fmla="*/ 10908 h 11278"/>
              <a:gd name="T58" fmla="*/ 11155 w 12059"/>
              <a:gd name="T59" fmla="*/ 9695 h 11278"/>
              <a:gd name="T60" fmla="*/ 12059 w 12059"/>
              <a:gd name="T61" fmla="*/ 7435 h 11278"/>
              <a:gd name="T62" fmla="*/ 9420 w 12059"/>
              <a:gd name="T63" fmla="*/ 7441 h 1127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12059" h="11278">
                <a:moveTo>
                  <a:pt x="9420" y="7441"/>
                </a:moveTo>
                <a:cubicBezTo>
                  <a:pt x="9354" y="7871"/>
                  <a:pt x="9182" y="8229"/>
                  <a:pt x="8901" y="8493"/>
                </a:cubicBezTo>
                <a:cubicBezTo>
                  <a:pt x="8637" y="8746"/>
                  <a:pt x="8284" y="8924"/>
                  <a:pt x="7843" y="9028"/>
                </a:cubicBezTo>
                <a:cubicBezTo>
                  <a:pt x="7408" y="9127"/>
                  <a:pt x="6774" y="9188"/>
                  <a:pt x="6096" y="9188"/>
                </a:cubicBezTo>
                <a:cubicBezTo>
                  <a:pt x="5417" y="9188"/>
                  <a:pt x="4779" y="9100"/>
                  <a:pt x="4255" y="8918"/>
                </a:cubicBezTo>
                <a:cubicBezTo>
                  <a:pt x="3748" y="8746"/>
                  <a:pt x="3346" y="8444"/>
                  <a:pt x="3064" y="8020"/>
                </a:cubicBezTo>
                <a:cubicBezTo>
                  <a:pt x="2778" y="7595"/>
                  <a:pt x="2634" y="6977"/>
                  <a:pt x="2634" y="6194"/>
                </a:cubicBezTo>
                <a:cubicBezTo>
                  <a:pt x="2634" y="5087"/>
                  <a:pt x="2634" y="5087"/>
                  <a:pt x="2634" y="5087"/>
                </a:cubicBezTo>
                <a:cubicBezTo>
                  <a:pt x="2634" y="4299"/>
                  <a:pt x="2778" y="3687"/>
                  <a:pt x="3064" y="3262"/>
                </a:cubicBezTo>
                <a:cubicBezTo>
                  <a:pt x="3346" y="2839"/>
                  <a:pt x="3748" y="2540"/>
                  <a:pt x="4255" y="2364"/>
                </a:cubicBezTo>
                <a:cubicBezTo>
                  <a:pt x="4779" y="2188"/>
                  <a:pt x="5395" y="2094"/>
                  <a:pt x="6096" y="2094"/>
                </a:cubicBezTo>
                <a:cubicBezTo>
                  <a:pt x="6795" y="2094"/>
                  <a:pt x="7408" y="2155"/>
                  <a:pt x="7843" y="2254"/>
                </a:cubicBezTo>
                <a:cubicBezTo>
                  <a:pt x="8284" y="2354"/>
                  <a:pt x="8637" y="2535"/>
                  <a:pt x="8901" y="2789"/>
                </a:cubicBezTo>
                <a:cubicBezTo>
                  <a:pt x="9178" y="3059"/>
                  <a:pt x="9354" y="3411"/>
                  <a:pt x="9420" y="3842"/>
                </a:cubicBezTo>
                <a:cubicBezTo>
                  <a:pt x="12059" y="3842"/>
                  <a:pt x="12059" y="3842"/>
                  <a:pt x="12059" y="3842"/>
                </a:cubicBezTo>
                <a:cubicBezTo>
                  <a:pt x="11988" y="2949"/>
                  <a:pt x="11685" y="2188"/>
                  <a:pt x="11155" y="1581"/>
                </a:cubicBezTo>
                <a:cubicBezTo>
                  <a:pt x="10670" y="1024"/>
                  <a:pt x="10004" y="617"/>
                  <a:pt x="9171" y="369"/>
                </a:cubicBezTo>
                <a:cubicBezTo>
                  <a:pt x="8361" y="127"/>
                  <a:pt x="7303" y="0"/>
                  <a:pt x="6102" y="0"/>
                </a:cubicBezTo>
                <a:cubicBezTo>
                  <a:pt x="4838" y="0"/>
                  <a:pt x="3742" y="182"/>
                  <a:pt x="2838" y="540"/>
                </a:cubicBezTo>
                <a:cubicBezTo>
                  <a:pt x="1923" y="903"/>
                  <a:pt x="1217" y="1509"/>
                  <a:pt x="728" y="2342"/>
                </a:cubicBezTo>
                <a:cubicBezTo>
                  <a:pt x="258" y="3141"/>
                  <a:pt x="16" y="4205"/>
                  <a:pt x="0" y="5512"/>
                </a:cubicBezTo>
                <a:cubicBezTo>
                  <a:pt x="0" y="5634"/>
                  <a:pt x="0" y="5634"/>
                  <a:pt x="0" y="5634"/>
                </a:cubicBezTo>
                <a:cubicBezTo>
                  <a:pt x="143" y="5638"/>
                  <a:pt x="143" y="5638"/>
                  <a:pt x="143" y="5638"/>
                </a:cubicBezTo>
                <a:cubicBezTo>
                  <a:pt x="0" y="5644"/>
                  <a:pt x="0" y="5644"/>
                  <a:pt x="0" y="5644"/>
                </a:cubicBezTo>
                <a:cubicBezTo>
                  <a:pt x="0" y="5765"/>
                  <a:pt x="0" y="5765"/>
                  <a:pt x="0" y="5765"/>
                </a:cubicBezTo>
                <a:cubicBezTo>
                  <a:pt x="16" y="7071"/>
                  <a:pt x="258" y="8135"/>
                  <a:pt x="728" y="8934"/>
                </a:cubicBezTo>
                <a:cubicBezTo>
                  <a:pt x="1213" y="9767"/>
                  <a:pt x="1923" y="10374"/>
                  <a:pt x="2838" y="10738"/>
                </a:cubicBezTo>
                <a:cubicBezTo>
                  <a:pt x="3737" y="11095"/>
                  <a:pt x="4834" y="11278"/>
                  <a:pt x="6102" y="11278"/>
                </a:cubicBezTo>
                <a:cubicBezTo>
                  <a:pt x="7363" y="11278"/>
                  <a:pt x="8367" y="11149"/>
                  <a:pt x="9171" y="10908"/>
                </a:cubicBezTo>
                <a:cubicBezTo>
                  <a:pt x="10004" y="10660"/>
                  <a:pt x="10670" y="10252"/>
                  <a:pt x="11155" y="9695"/>
                </a:cubicBezTo>
                <a:cubicBezTo>
                  <a:pt x="11685" y="9090"/>
                  <a:pt x="11988" y="8327"/>
                  <a:pt x="12059" y="7435"/>
                </a:cubicBezTo>
                <a:cubicBezTo>
                  <a:pt x="9420" y="7441"/>
                  <a:pt x="9420" y="7441"/>
                  <a:pt x="9420" y="7441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3200"/>
          </a:p>
        </p:txBody>
      </p:sp>
      <p:sp>
        <p:nvSpPr>
          <p:cNvPr id="6" name="Заголовок 1">
            <a:extLst>
              <a:ext uri="{FF2B5EF4-FFF2-40B4-BE49-F238E27FC236}">
                <a16:creationId xmlns:a16="http://schemas.microsoft.com/office/drawing/2014/main" id="{0DE3DC47-4B17-492F-9962-C4D739B3C05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60363" y="3960000"/>
            <a:ext cx="10440000" cy="1234505"/>
          </a:xfrm>
          <a:prstGeom prst="rect">
            <a:avLst/>
          </a:prstGeom>
        </p:spPr>
        <p:txBody>
          <a:bodyPr vert="horz" wrap="square" lIns="0" tIns="0" rIns="0" bIns="0" anchor="b">
            <a:spAutoFit/>
          </a:bodyPr>
          <a:lstStyle>
            <a:lvl1pPr algn="l">
              <a:lnSpc>
                <a:spcPct val="80000"/>
              </a:lnSpc>
              <a:defRPr sz="5000" cap="all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r>
              <a:rPr lang="ru-RU" dirty="0"/>
              <a:t>Название</a:t>
            </a:r>
            <a:r>
              <a:rPr lang="en-US" dirty="0"/>
              <a:t/>
            </a:r>
            <a:br>
              <a:rPr lang="en-US" dirty="0"/>
            </a:br>
            <a:r>
              <a:rPr lang="ru-RU" dirty="0"/>
              <a:t>презентации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94C8771-A732-4114-99F2-5A5AFEEAF27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60362" y="5400000"/>
            <a:ext cx="10440001" cy="307777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bg1"/>
                </a:solidFill>
                <a:latin typeface="MTS Wide" panose="020B0306020102020303" pitchFamily="34" charset="0"/>
                <a:ea typeface="MTS Wide" panose="020B0306020102020303" pitchFamily="34" charset="0"/>
              </a:defRPr>
            </a:lvl1pPr>
            <a:lvl2pPr marL="457189" indent="0">
              <a:buNone/>
              <a:defRPr sz="1867"/>
            </a:lvl2pPr>
            <a:lvl3pPr marL="914377" indent="0">
              <a:buNone/>
              <a:defRPr sz="1867"/>
            </a:lvl3pPr>
            <a:lvl4pPr marL="1371566" indent="0">
              <a:buNone/>
              <a:defRPr sz="1867"/>
            </a:lvl4pPr>
            <a:lvl5pPr marL="1828754" indent="0">
              <a:buNone/>
              <a:defRPr sz="1867"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3069984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EME / COVERS">
    <p:bg>
      <p:bgPr>
        <a:solidFill>
          <a:srgbClr val="7A01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939C753-1782-4BD3-8356-A657C018F64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9" y="2119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2" name="think-cell Slide" r:id="rId4" imgW="359" imgH="367" progId="TCLayout.ActiveDocument.1">
                  <p:embed/>
                </p:oleObj>
              </mc:Choice>
              <mc:Fallback>
                <p:oleObj name="think-cell Slide" r:id="rId4" imgW="359" imgH="367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939C753-1782-4BD3-8356-A657C018F6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16ED118B-F8ED-4AC3-A2E3-5A7DD1D28CA0}"/>
              </a:ext>
            </a:extLst>
          </p:cNvPr>
          <p:cNvSpPr txBox="1"/>
          <p:nvPr/>
        </p:nvSpPr>
        <p:spPr>
          <a:xfrm>
            <a:off x="239185" y="5082215"/>
            <a:ext cx="11713632" cy="15390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indent="0" algn="l">
              <a:spcAft>
                <a:spcPts val="667"/>
              </a:spcAft>
              <a:buFont typeface="Arial" panose="020B0604020202020204" pitchFamily="34" charset="0"/>
              <a:buNone/>
            </a:pPr>
            <a:r>
              <a:rPr lang="ru-RU" sz="10001" dirty="0">
                <a:solidFill>
                  <a:schemeClr val="bg1"/>
                </a:solidFill>
                <a:latin typeface="+mj-lt"/>
              </a:rPr>
              <a:t>Обложки</a:t>
            </a:r>
          </a:p>
        </p:txBody>
      </p:sp>
      <p:sp>
        <p:nvSpPr>
          <p:cNvPr id="6" name="Isosceles Triangle 5">
            <a:extLst>
              <a:ext uri="{FF2B5EF4-FFF2-40B4-BE49-F238E27FC236}">
                <a16:creationId xmlns:a16="http://schemas.microsoft.com/office/drawing/2014/main" id="{40A0FFC8-1A3A-48E8-807B-BDA7BB6F965D}"/>
              </a:ext>
            </a:extLst>
          </p:cNvPr>
          <p:cNvSpPr/>
          <p:nvPr/>
        </p:nvSpPr>
        <p:spPr>
          <a:xfrm rot="5400000">
            <a:off x="9239249" y="1799171"/>
            <a:ext cx="2880784" cy="1200151"/>
          </a:xfrm>
          <a:custGeom>
            <a:avLst/>
            <a:gdLst>
              <a:gd name="connsiteX0" fmla="*/ 0 w 1321800"/>
              <a:gd name="connsiteY0" fmla="*/ 1139483 h 1139483"/>
              <a:gd name="connsiteX1" fmla="*/ 660900 w 1321800"/>
              <a:gd name="connsiteY1" fmla="*/ 0 h 1139483"/>
              <a:gd name="connsiteX2" fmla="*/ 1321800 w 1321800"/>
              <a:gd name="connsiteY2" fmla="*/ 1139483 h 1139483"/>
              <a:gd name="connsiteX3" fmla="*/ 0 w 1321800"/>
              <a:gd name="connsiteY3" fmla="*/ 1139483 h 1139483"/>
              <a:gd name="connsiteX0" fmla="*/ 0 w 1321800"/>
              <a:gd name="connsiteY0" fmla="*/ 1139483 h 1161550"/>
              <a:gd name="connsiteX1" fmla="*/ 660900 w 1321800"/>
              <a:gd name="connsiteY1" fmla="*/ 0 h 1161550"/>
              <a:gd name="connsiteX2" fmla="*/ 1321800 w 1321800"/>
              <a:gd name="connsiteY2" fmla="*/ 1139483 h 1161550"/>
              <a:gd name="connsiteX3" fmla="*/ 646833 w 1321800"/>
              <a:gd name="connsiteY3" fmla="*/ 1161550 h 1161550"/>
              <a:gd name="connsiteX4" fmla="*/ 0 w 1321800"/>
              <a:gd name="connsiteY4" fmla="*/ 1139483 h 1161550"/>
              <a:gd name="connsiteX0" fmla="*/ 646833 w 1321800"/>
              <a:gd name="connsiteY0" fmla="*/ 1161550 h 1252990"/>
              <a:gd name="connsiteX1" fmla="*/ 0 w 1321800"/>
              <a:gd name="connsiteY1" fmla="*/ 1139483 h 1252990"/>
              <a:gd name="connsiteX2" fmla="*/ 660900 w 1321800"/>
              <a:gd name="connsiteY2" fmla="*/ 0 h 1252990"/>
              <a:gd name="connsiteX3" fmla="*/ 1321800 w 1321800"/>
              <a:gd name="connsiteY3" fmla="*/ 1139483 h 1252990"/>
              <a:gd name="connsiteX4" fmla="*/ 738273 w 1321800"/>
              <a:gd name="connsiteY4" fmla="*/ 1252990 h 1252990"/>
              <a:gd name="connsiteX0" fmla="*/ 646833 w 1321800"/>
              <a:gd name="connsiteY0" fmla="*/ 1161550 h 1161550"/>
              <a:gd name="connsiteX1" fmla="*/ 0 w 1321800"/>
              <a:gd name="connsiteY1" fmla="*/ 1139483 h 1161550"/>
              <a:gd name="connsiteX2" fmla="*/ 660900 w 1321800"/>
              <a:gd name="connsiteY2" fmla="*/ 0 h 1161550"/>
              <a:gd name="connsiteX3" fmla="*/ 1321800 w 1321800"/>
              <a:gd name="connsiteY3" fmla="*/ 1139483 h 1161550"/>
              <a:gd name="connsiteX0" fmla="*/ 0 w 1321800"/>
              <a:gd name="connsiteY0" fmla="*/ 1139483 h 1139483"/>
              <a:gd name="connsiteX1" fmla="*/ 660900 w 1321800"/>
              <a:gd name="connsiteY1" fmla="*/ 0 h 1139483"/>
              <a:gd name="connsiteX2" fmla="*/ 1321800 w 1321800"/>
              <a:gd name="connsiteY2" fmla="*/ 1139483 h 11394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321800" h="1139483">
                <a:moveTo>
                  <a:pt x="0" y="1139483"/>
                </a:moveTo>
                <a:lnTo>
                  <a:pt x="660900" y="0"/>
                </a:lnTo>
                <a:lnTo>
                  <a:pt x="1321800" y="1139483"/>
                </a:lnTo>
              </a:path>
            </a:pathLst>
          </a:custGeom>
          <a:noFill/>
          <a:ln w="2540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 sz="320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FAC22DBF-02DF-44CF-8711-532C1B122CC0}"/>
              </a:ext>
            </a:extLst>
          </p:cNvPr>
          <p:cNvCxnSpPr>
            <a:cxnSpLocks/>
            <a:endCxn id="6" idx="1"/>
          </p:cNvCxnSpPr>
          <p:nvPr/>
        </p:nvCxnSpPr>
        <p:spPr>
          <a:xfrm>
            <a:off x="7679268" y="2399246"/>
            <a:ext cx="3600451" cy="1"/>
          </a:xfrm>
          <a:prstGeom prst="line">
            <a:avLst/>
          </a:prstGeom>
          <a:noFill/>
          <a:ln w="2540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</p:spTree>
    <p:extLst>
      <p:ext uri="{BB962C8B-B14F-4D97-AF65-F5344CB8AC3E}">
        <p14:creationId xmlns:p14="http://schemas.microsoft.com/office/powerpoint/2010/main" val="113043801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ложка / Буквы МТС">
    <p:bg>
      <p:bgPr>
        <a:solidFill>
          <a:srgbClr val="FF003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EC4B86A-8645-48E1-ADF7-F38293A424E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9" y="2119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6" name="think-cell Slide" r:id="rId4" imgW="359" imgH="367" progId="TCLayout.ActiveDocument.1">
                  <p:embed/>
                </p:oleObj>
              </mc:Choice>
              <mc:Fallback>
                <p:oleObj name="think-cell Slide" r:id="rId4" imgW="359" imgH="367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EC4B86A-8645-48E1-ADF7-F38293A424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Freeform 20">
            <a:extLst>
              <a:ext uri="{FF2B5EF4-FFF2-40B4-BE49-F238E27FC236}">
                <a16:creationId xmlns:a16="http://schemas.microsoft.com/office/drawing/2014/main" id="{5C367A32-6BF4-4720-8724-8D50F2427886}"/>
              </a:ext>
            </a:extLst>
          </p:cNvPr>
          <p:cNvSpPr>
            <a:spLocks/>
          </p:cNvSpPr>
          <p:nvPr/>
        </p:nvSpPr>
        <p:spPr bwMode="auto">
          <a:xfrm>
            <a:off x="360364" y="360001"/>
            <a:ext cx="960967" cy="718027"/>
          </a:xfrm>
          <a:custGeom>
            <a:avLst/>
            <a:gdLst>
              <a:gd name="T0" fmla="*/ 593 w 802"/>
              <a:gd name="T1" fmla="*/ 0 h 602"/>
              <a:gd name="T2" fmla="*/ 401 w 802"/>
              <a:gd name="T3" fmla="*/ 398 h 602"/>
              <a:gd name="T4" fmla="*/ 209 w 802"/>
              <a:gd name="T5" fmla="*/ 0 h 602"/>
              <a:gd name="T6" fmla="*/ 0 w 802"/>
              <a:gd name="T7" fmla="*/ 0 h 602"/>
              <a:gd name="T8" fmla="*/ 0 w 802"/>
              <a:gd name="T9" fmla="*/ 602 h 602"/>
              <a:gd name="T10" fmla="*/ 147 w 802"/>
              <a:gd name="T11" fmla="*/ 602 h 602"/>
              <a:gd name="T12" fmla="*/ 147 w 802"/>
              <a:gd name="T13" fmla="*/ 171 h 602"/>
              <a:gd name="T14" fmla="*/ 334 w 802"/>
              <a:gd name="T15" fmla="*/ 535 h 602"/>
              <a:gd name="T16" fmla="*/ 468 w 802"/>
              <a:gd name="T17" fmla="*/ 535 h 602"/>
              <a:gd name="T18" fmla="*/ 655 w 802"/>
              <a:gd name="T19" fmla="*/ 171 h 602"/>
              <a:gd name="T20" fmla="*/ 655 w 802"/>
              <a:gd name="T21" fmla="*/ 602 h 602"/>
              <a:gd name="T22" fmla="*/ 802 w 802"/>
              <a:gd name="T23" fmla="*/ 602 h 602"/>
              <a:gd name="T24" fmla="*/ 802 w 802"/>
              <a:gd name="T25" fmla="*/ 0 h 602"/>
              <a:gd name="T26" fmla="*/ 593 w 802"/>
              <a:gd name="T27" fmla="*/ 0 h 6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802" h="602">
                <a:moveTo>
                  <a:pt x="593" y="0"/>
                </a:moveTo>
                <a:lnTo>
                  <a:pt x="401" y="398"/>
                </a:lnTo>
                <a:lnTo>
                  <a:pt x="209" y="0"/>
                </a:lnTo>
                <a:lnTo>
                  <a:pt x="0" y="0"/>
                </a:lnTo>
                <a:lnTo>
                  <a:pt x="0" y="602"/>
                </a:lnTo>
                <a:lnTo>
                  <a:pt x="147" y="602"/>
                </a:lnTo>
                <a:lnTo>
                  <a:pt x="147" y="171"/>
                </a:lnTo>
                <a:lnTo>
                  <a:pt x="334" y="535"/>
                </a:lnTo>
                <a:lnTo>
                  <a:pt x="468" y="535"/>
                </a:lnTo>
                <a:lnTo>
                  <a:pt x="655" y="171"/>
                </a:lnTo>
                <a:lnTo>
                  <a:pt x="655" y="602"/>
                </a:lnTo>
                <a:lnTo>
                  <a:pt x="802" y="602"/>
                </a:lnTo>
                <a:lnTo>
                  <a:pt x="802" y="0"/>
                </a:lnTo>
                <a:lnTo>
                  <a:pt x="593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3200"/>
          </a:p>
        </p:txBody>
      </p:sp>
      <p:sp>
        <p:nvSpPr>
          <p:cNvPr id="27" name="Freeform 21">
            <a:extLst>
              <a:ext uri="{FF2B5EF4-FFF2-40B4-BE49-F238E27FC236}">
                <a16:creationId xmlns:a16="http://schemas.microsoft.com/office/drawing/2014/main" id="{8267C95A-297C-429C-A04B-A3DCA86EBA18}"/>
              </a:ext>
            </a:extLst>
          </p:cNvPr>
          <p:cNvSpPr>
            <a:spLocks/>
          </p:cNvSpPr>
          <p:nvPr/>
        </p:nvSpPr>
        <p:spPr bwMode="auto">
          <a:xfrm>
            <a:off x="11031313" y="360001"/>
            <a:ext cx="800325" cy="718027"/>
          </a:xfrm>
          <a:custGeom>
            <a:avLst/>
            <a:gdLst>
              <a:gd name="T0" fmla="*/ 0 w 671"/>
              <a:gd name="T1" fmla="*/ 0 h 602"/>
              <a:gd name="T2" fmla="*/ 0 w 671"/>
              <a:gd name="T3" fmla="*/ 120 h 602"/>
              <a:gd name="T4" fmla="*/ 262 w 671"/>
              <a:gd name="T5" fmla="*/ 120 h 602"/>
              <a:gd name="T6" fmla="*/ 262 w 671"/>
              <a:gd name="T7" fmla="*/ 602 h 602"/>
              <a:gd name="T8" fmla="*/ 408 w 671"/>
              <a:gd name="T9" fmla="*/ 602 h 602"/>
              <a:gd name="T10" fmla="*/ 409 w 671"/>
              <a:gd name="T11" fmla="*/ 120 h 602"/>
              <a:gd name="T12" fmla="*/ 671 w 671"/>
              <a:gd name="T13" fmla="*/ 120 h 602"/>
              <a:gd name="T14" fmla="*/ 671 w 671"/>
              <a:gd name="T15" fmla="*/ 0 h 602"/>
              <a:gd name="T16" fmla="*/ 0 w 671"/>
              <a:gd name="T17" fmla="*/ 0 h 6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671" h="602">
                <a:moveTo>
                  <a:pt x="0" y="0"/>
                </a:moveTo>
                <a:lnTo>
                  <a:pt x="0" y="120"/>
                </a:lnTo>
                <a:lnTo>
                  <a:pt x="262" y="120"/>
                </a:lnTo>
                <a:lnTo>
                  <a:pt x="262" y="602"/>
                </a:lnTo>
                <a:lnTo>
                  <a:pt x="408" y="602"/>
                </a:lnTo>
                <a:lnTo>
                  <a:pt x="409" y="120"/>
                </a:lnTo>
                <a:lnTo>
                  <a:pt x="671" y="120"/>
                </a:lnTo>
                <a:lnTo>
                  <a:pt x="671" y="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3200"/>
          </a:p>
        </p:txBody>
      </p:sp>
      <p:sp>
        <p:nvSpPr>
          <p:cNvPr id="28" name="Freeform 22">
            <a:extLst>
              <a:ext uri="{FF2B5EF4-FFF2-40B4-BE49-F238E27FC236}">
                <a16:creationId xmlns:a16="http://schemas.microsoft.com/office/drawing/2014/main" id="{B8C3FF70-2561-48B7-8928-382B87899C5B}"/>
              </a:ext>
            </a:extLst>
          </p:cNvPr>
          <p:cNvSpPr>
            <a:spLocks/>
          </p:cNvSpPr>
          <p:nvPr/>
        </p:nvSpPr>
        <p:spPr bwMode="auto">
          <a:xfrm>
            <a:off x="11031312" y="5759451"/>
            <a:ext cx="800325" cy="749037"/>
          </a:xfrm>
          <a:custGeom>
            <a:avLst/>
            <a:gdLst>
              <a:gd name="T0" fmla="*/ 9420 w 12059"/>
              <a:gd name="T1" fmla="*/ 7441 h 11278"/>
              <a:gd name="T2" fmla="*/ 8901 w 12059"/>
              <a:gd name="T3" fmla="*/ 8493 h 11278"/>
              <a:gd name="T4" fmla="*/ 7843 w 12059"/>
              <a:gd name="T5" fmla="*/ 9028 h 11278"/>
              <a:gd name="T6" fmla="*/ 6096 w 12059"/>
              <a:gd name="T7" fmla="*/ 9188 h 11278"/>
              <a:gd name="T8" fmla="*/ 4255 w 12059"/>
              <a:gd name="T9" fmla="*/ 8918 h 11278"/>
              <a:gd name="T10" fmla="*/ 3064 w 12059"/>
              <a:gd name="T11" fmla="*/ 8020 h 11278"/>
              <a:gd name="T12" fmla="*/ 2634 w 12059"/>
              <a:gd name="T13" fmla="*/ 6194 h 11278"/>
              <a:gd name="T14" fmla="*/ 2634 w 12059"/>
              <a:gd name="T15" fmla="*/ 5087 h 11278"/>
              <a:gd name="T16" fmla="*/ 3064 w 12059"/>
              <a:gd name="T17" fmla="*/ 3262 h 11278"/>
              <a:gd name="T18" fmla="*/ 4255 w 12059"/>
              <a:gd name="T19" fmla="*/ 2364 h 11278"/>
              <a:gd name="T20" fmla="*/ 6096 w 12059"/>
              <a:gd name="T21" fmla="*/ 2094 h 11278"/>
              <a:gd name="T22" fmla="*/ 7843 w 12059"/>
              <a:gd name="T23" fmla="*/ 2254 h 11278"/>
              <a:gd name="T24" fmla="*/ 8901 w 12059"/>
              <a:gd name="T25" fmla="*/ 2789 h 11278"/>
              <a:gd name="T26" fmla="*/ 9420 w 12059"/>
              <a:gd name="T27" fmla="*/ 3842 h 11278"/>
              <a:gd name="T28" fmla="*/ 12059 w 12059"/>
              <a:gd name="T29" fmla="*/ 3842 h 11278"/>
              <a:gd name="T30" fmla="*/ 11155 w 12059"/>
              <a:gd name="T31" fmla="*/ 1581 h 11278"/>
              <a:gd name="T32" fmla="*/ 9171 w 12059"/>
              <a:gd name="T33" fmla="*/ 369 h 11278"/>
              <a:gd name="T34" fmla="*/ 6102 w 12059"/>
              <a:gd name="T35" fmla="*/ 0 h 11278"/>
              <a:gd name="T36" fmla="*/ 2838 w 12059"/>
              <a:gd name="T37" fmla="*/ 540 h 11278"/>
              <a:gd name="T38" fmla="*/ 728 w 12059"/>
              <a:gd name="T39" fmla="*/ 2342 h 11278"/>
              <a:gd name="T40" fmla="*/ 0 w 12059"/>
              <a:gd name="T41" fmla="*/ 5512 h 11278"/>
              <a:gd name="T42" fmla="*/ 0 w 12059"/>
              <a:gd name="T43" fmla="*/ 5634 h 11278"/>
              <a:gd name="T44" fmla="*/ 143 w 12059"/>
              <a:gd name="T45" fmla="*/ 5638 h 11278"/>
              <a:gd name="T46" fmla="*/ 0 w 12059"/>
              <a:gd name="T47" fmla="*/ 5644 h 11278"/>
              <a:gd name="T48" fmla="*/ 0 w 12059"/>
              <a:gd name="T49" fmla="*/ 5765 h 11278"/>
              <a:gd name="T50" fmla="*/ 728 w 12059"/>
              <a:gd name="T51" fmla="*/ 8934 h 11278"/>
              <a:gd name="T52" fmla="*/ 2838 w 12059"/>
              <a:gd name="T53" fmla="*/ 10738 h 11278"/>
              <a:gd name="T54" fmla="*/ 6102 w 12059"/>
              <a:gd name="T55" fmla="*/ 11278 h 11278"/>
              <a:gd name="T56" fmla="*/ 9171 w 12059"/>
              <a:gd name="T57" fmla="*/ 10908 h 11278"/>
              <a:gd name="T58" fmla="*/ 11155 w 12059"/>
              <a:gd name="T59" fmla="*/ 9695 h 11278"/>
              <a:gd name="T60" fmla="*/ 12059 w 12059"/>
              <a:gd name="T61" fmla="*/ 7435 h 11278"/>
              <a:gd name="T62" fmla="*/ 9420 w 12059"/>
              <a:gd name="T63" fmla="*/ 7441 h 1127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12059" h="11278">
                <a:moveTo>
                  <a:pt x="9420" y="7441"/>
                </a:moveTo>
                <a:cubicBezTo>
                  <a:pt x="9354" y="7871"/>
                  <a:pt x="9182" y="8229"/>
                  <a:pt x="8901" y="8493"/>
                </a:cubicBezTo>
                <a:cubicBezTo>
                  <a:pt x="8637" y="8746"/>
                  <a:pt x="8284" y="8924"/>
                  <a:pt x="7843" y="9028"/>
                </a:cubicBezTo>
                <a:cubicBezTo>
                  <a:pt x="7408" y="9127"/>
                  <a:pt x="6774" y="9188"/>
                  <a:pt x="6096" y="9188"/>
                </a:cubicBezTo>
                <a:cubicBezTo>
                  <a:pt x="5417" y="9188"/>
                  <a:pt x="4779" y="9100"/>
                  <a:pt x="4255" y="8918"/>
                </a:cubicBezTo>
                <a:cubicBezTo>
                  <a:pt x="3748" y="8746"/>
                  <a:pt x="3346" y="8444"/>
                  <a:pt x="3064" y="8020"/>
                </a:cubicBezTo>
                <a:cubicBezTo>
                  <a:pt x="2778" y="7595"/>
                  <a:pt x="2634" y="6977"/>
                  <a:pt x="2634" y="6194"/>
                </a:cubicBezTo>
                <a:cubicBezTo>
                  <a:pt x="2634" y="5087"/>
                  <a:pt x="2634" y="5087"/>
                  <a:pt x="2634" y="5087"/>
                </a:cubicBezTo>
                <a:cubicBezTo>
                  <a:pt x="2634" y="4299"/>
                  <a:pt x="2778" y="3687"/>
                  <a:pt x="3064" y="3262"/>
                </a:cubicBezTo>
                <a:cubicBezTo>
                  <a:pt x="3346" y="2839"/>
                  <a:pt x="3748" y="2540"/>
                  <a:pt x="4255" y="2364"/>
                </a:cubicBezTo>
                <a:cubicBezTo>
                  <a:pt x="4779" y="2188"/>
                  <a:pt x="5395" y="2094"/>
                  <a:pt x="6096" y="2094"/>
                </a:cubicBezTo>
                <a:cubicBezTo>
                  <a:pt x="6795" y="2094"/>
                  <a:pt x="7408" y="2155"/>
                  <a:pt x="7843" y="2254"/>
                </a:cubicBezTo>
                <a:cubicBezTo>
                  <a:pt x="8284" y="2354"/>
                  <a:pt x="8637" y="2535"/>
                  <a:pt x="8901" y="2789"/>
                </a:cubicBezTo>
                <a:cubicBezTo>
                  <a:pt x="9178" y="3059"/>
                  <a:pt x="9354" y="3411"/>
                  <a:pt x="9420" y="3842"/>
                </a:cubicBezTo>
                <a:cubicBezTo>
                  <a:pt x="12059" y="3842"/>
                  <a:pt x="12059" y="3842"/>
                  <a:pt x="12059" y="3842"/>
                </a:cubicBezTo>
                <a:cubicBezTo>
                  <a:pt x="11988" y="2949"/>
                  <a:pt x="11685" y="2188"/>
                  <a:pt x="11155" y="1581"/>
                </a:cubicBezTo>
                <a:cubicBezTo>
                  <a:pt x="10670" y="1024"/>
                  <a:pt x="10004" y="617"/>
                  <a:pt x="9171" y="369"/>
                </a:cubicBezTo>
                <a:cubicBezTo>
                  <a:pt x="8361" y="127"/>
                  <a:pt x="7303" y="0"/>
                  <a:pt x="6102" y="0"/>
                </a:cubicBezTo>
                <a:cubicBezTo>
                  <a:pt x="4838" y="0"/>
                  <a:pt x="3742" y="182"/>
                  <a:pt x="2838" y="540"/>
                </a:cubicBezTo>
                <a:cubicBezTo>
                  <a:pt x="1923" y="903"/>
                  <a:pt x="1217" y="1509"/>
                  <a:pt x="728" y="2342"/>
                </a:cubicBezTo>
                <a:cubicBezTo>
                  <a:pt x="258" y="3141"/>
                  <a:pt x="16" y="4205"/>
                  <a:pt x="0" y="5512"/>
                </a:cubicBezTo>
                <a:cubicBezTo>
                  <a:pt x="0" y="5634"/>
                  <a:pt x="0" y="5634"/>
                  <a:pt x="0" y="5634"/>
                </a:cubicBezTo>
                <a:cubicBezTo>
                  <a:pt x="143" y="5638"/>
                  <a:pt x="143" y="5638"/>
                  <a:pt x="143" y="5638"/>
                </a:cubicBezTo>
                <a:cubicBezTo>
                  <a:pt x="0" y="5644"/>
                  <a:pt x="0" y="5644"/>
                  <a:pt x="0" y="5644"/>
                </a:cubicBezTo>
                <a:cubicBezTo>
                  <a:pt x="0" y="5765"/>
                  <a:pt x="0" y="5765"/>
                  <a:pt x="0" y="5765"/>
                </a:cubicBezTo>
                <a:cubicBezTo>
                  <a:pt x="16" y="7071"/>
                  <a:pt x="258" y="8135"/>
                  <a:pt x="728" y="8934"/>
                </a:cubicBezTo>
                <a:cubicBezTo>
                  <a:pt x="1213" y="9767"/>
                  <a:pt x="1923" y="10374"/>
                  <a:pt x="2838" y="10738"/>
                </a:cubicBezTo>
                <a:cubicBezTo>
                  <a:pt x="3737" y="11095"/>
                  <a:pt x="4834" y="11278"/>
                  <a:pt x="6102" y="11278"/>
                </a:cubicBezTo>
                <a:cubicBezTo>
                  <a:pt x="7363" y="11278"/>
                  <a:pt x="8367" y="11149"/>
                  <a:pt x="9171" y="10908"/>
                </a:cubicBezTo>
                <a:cubicBezTo>
                  <a:pt x="10004" y="10660"/>
                  <a:pt x="10670" y="10252"/>
                  <a:pt x="11155" y="9695"/>
                </a:cubicBezTo>
                <a:cubicBezTo>
                  <a:pt x="11685" y="9090"/>
                  <a:pt x="11988" y="8327"/>
                  <a:pt x="12059" y="7435"/>
                </a:cubicBezTo>
                <a:cubicBezTo>
                  <a:pt x="9420" y="7441"/>
                  <a:pt x="9420" y="7441"/>
                  <a:pt x="9420" y="7441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3200"/>
          </a:p>
        </p:txBody>
      </p:sp>
      <p:sp>
        <p:nvSpPr>
          <p:cNvPr id="6" name="Заголовок 1">
            <a:extLst>
              <a:ext uri="{FF2B5EF4-FFF2-40B4-BE49-F238E27FC236}">
                <a16:creationId xmlns:a16="http://schemas.microsoft.com/office/drawing/2014/main" id="{0DE3DC47-4B17-492F-9962-C4D739B3C05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60363" y="4140001"/>
            <a:ext cx="10440000" cy="1234505"/>
          </a:xfrm>
          <a:prstGeom prst="rect">
            <a:avLst/>
          </a:prstGeom>
        </p:spPr>
        <p:txBody>
          <a:bodyPr vert="horz" wrap="square" lIns="0" tIns="0" rIns="0" bIns="0" anchor="b">
            <a:spAutoFit/>
          </a:bodyPr>
          <a:lstStyle>
            <a:lvl1pPr algn="l">
              <a:lnSpc>
                <a:spcPct val="80000"/>
              </a:lnSpc>
              <a:defRPr sz="5000" cap="all" baseline="0">
                <a:solidFill>
                  <a:schemeClr val="bg1"/>
                </a:solidFill>
                <a:latin typeface="+mj-lt"/>
                <a:ea typeface="MTS Extended Medium" panose="020B0306020102020303" pitchFamily="34" charset="0"/>
              </a:defRPr>
            </a:lvl1pPr>
          </a:lstStyle>
          <a:p>
            <a:r>
              <a:rPr lang="ru-RU" dirty="0"/>
              <a:t>Название</a:t>
            </a:r>
            <a:r>
              <a:rPr lang="en-US" dirty="0"/>
              <a:t/>
            </a:r>
            <a:br>
              <a:rPr lang="en-US" dirty="0"/>
            </a:br>
            <a:r>
              <a:rPr lang="ru-RU" dirty="0"/>
              <a:t>презентации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94C8771-A732-4114-99F2-5A5AFEEAF27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60363" y="5579226"/>
            <a:ext cx="10440001" cy="307777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bg1"/>
                </a:solidFill>
                <a:latin typeface="MTS Wide" panose="020B0306020102020303" pitchFamily="34" charset="0"/>
                <a:ea typeface="MTS Wide" panose="020B0306020102020303" pitchFamily="34" charset="0"/>
              </a:defRPr>
            </a:lvl1pPr>
            <a:lvl2pPr marL="457212" indent="0">
              <a:buNone/>
              <a:defRPr sz="1867"/>
            </a:lvl2pPr>
            <a:lvl3pPr marL="914423" indent="0">
              <a:buNone/>
              <a:defRPr sz="1867"/>
            </a:lvl3pPr>
            <a:lvl4pPr marL="1371635" indent="0">
              <a:buNone/>
              <a:defRPr sz="1867"/>
            </a:lvl4pPr>
            <a:lvl5pPr marL="1828845" indent="0">
              <a:buNone/>
              <a:defRPr sz="1867"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556C287-A015-4208-92A3-B2FDEC0B95F7}"/>
              </a:ext>
            </a:extLst>
          </p:cNvPr>
          <p:cNvSpPr txBox="1"/>
          <p:nvPr/>
        </p:nvSpPr>
        <p:spPr>
          <a:xfrm>
            <a:off x="359225" y="6300000"/>
            <a:ext cx="7200000" cy="21544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ru-RU" sz="700" cap="all" baseline="0" dirty="0">
                <a:solidFill>
                  <a:schemeClr val="bg1">
                    <a:alpha val="60000"/>
                  </a:schemeClr>
                </a:solidFill>
              </a:rPr>
              <a:t>НЕ ПРЕДНАЗНАЧЕНО ДЛЯ ПОЛНОГО ИЛИ ЧАСТИЧНОГО ОБНАРОДОВАНИЯ И/ИЛИ РАСПРОСТРАНЕНИЯ! </a:t>
            </a:r>
          </a:p>
          <a:p>
            <a:r>
              <a:rPr lang="ru-RU" sz="700" cap="all" baseline="0" dirty="0">
                <a:solidFill>
                  <a:schemeClr val="bg1">
                    <a:alpha val="60000"/>
                  </a:schemeClr>
                </a:solidFill>
              </a:rPr>
              <a:t>Передача этого документа или его части любым лицам или компаниям, не входящим в Группу МТС, строго запрещена!</a:t>
            </a:r>
          </a:p>
        </p:txBody>
      </p:sp>
    </p:spTree>
    <p:extLst>
      <p:ext uri="{BB962C8B-B14F-4D97-AF65-F5344CB8AC3E}">
        <p14:creationId xmlns:p14="http://schemas.microsoft.com/office/powerpoint/2010/main" val="423662016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ложка / Лого МТС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EC4B86A-8645-48E1-ADF7-F38293A424E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9" y="2119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0" name="think-cell Slide" r:id="rId5" imgW="359" imgH="367" progId="TCLayout.ActiveDocument.1">
                  <p:embed/>
                </p:oleObj>
              </mc:Choice>
              <mc:Fallback>
                <p:oleObj name="think-cell Slide" r:id="rId5" imgW="359" imgH="367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EC4B86A-8645-48E1-ADF7-F38293A424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Заголовок 1">
            <a:extLst>
              <a:ext uri="{FF2B5EF4-FFF2-40B4-BE49-F238E27FC236}">
                <a16:creationId xmlns:a16="http://schemas.microsoft.com/office/drawing/2014/main" id="{BFD8A844-F299-4C9B-BB9B-B29833DA457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60363" y="360364"/>
            <a:ext cx="10440000" cy="1234505"/>
          </a:xfrm>
          <a:prstGeom prst="rect">
            <a:avLst/>
          </a:prstGeom>
        </p:spPr>
        <p:txBody>
          <a:bodyPr vert="horz" wrap="square" lIns="0" tIns="0" rIns="0" bIns="0" anchor="t">
            <a:spAutoFit/>
          </a:bodyPr>
          <a:lstStyle>
            <a:lvl1pPr algn="l">
              <a:lnSpc>
                <a:spcPct val="80000"/>
              </a:lnSpc>
              <a:defRPr sz="5000" cap="all" baseline="0">
                <a:solidFill>
                  <a:schemeClr val="bg1"/>
                </a:solidFill>
                <a:latin typeface="+mj-lt"/>
                <a:ea typeface="MTS Extended Medium" panose="020B0306020102020303" pitchFamily="34" charset="0"/>
              </a:defRPr>
            </a:lvl1pPr>
          </a:lstStyle>
          <a:p>
            <a:r>
              <a:rPr lang="ru-RU" dirty="0"/>
              <a:t>Название</a:t>
            </a:r>
            <a:r>
              <a:rPr lang="en-US" dirty="0"/>
              <a:t/>
            </a:r>
            <a:br>
              <a:rPr lang="en-US" dirty="0"/>
            </a:br>
            <a:r>
              <a:rPr lang="ru-RU" dirty="0"/>
              <a:t>презентации</a:t>
            </a:r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8162675A-FF43-4151-BF4D-E52157480D7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60363" y="5580001"/>
            <a:ext cx="10440001" cy="30777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bg1"/>
                </a:solidFill>
                <a:latin typeface="MTS Wide" panose="020B0306020102020303" pitchFamily="34" charset="0"/>
                <a:ea typeface="MTS Wide" panose="020B0306020102020303" pitchFamily="34" charset="0"/>
              </a:defRPr>
            </a:lvl1pPr>
            <a:lvl2pPr marL="457212" indent="0">
              <a:buNone/>
              <a:defRPr sz="1867"/>
            </a:lvl2pPr>
            <a:lvl3pPr marL="914423" indent="0">
              <a:buNone/>
              <a:defRPr sz="1867"/>
            </a:lvl3pPr>
            <a:lvl4pPr marL="1371635" indent="0">
              <a:buNone/>
              <a:defRPr sz="1867"/>
            </a:lvl4pPr>
            <a:lvl5pPr marL="1828845" indent="0">
              <a:buNone/>
              <a:defRPr sz="1867"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206C0027-8278-4F9A-8A0C-3E45FC1F66FE}"/>
              </a:ext>
            </a:extLst>
          </p:cNvPr>
          <p:cNvSpPr txBox="1"/>
          <p:nvPr/>
        </p:nvSpPr>
        <p:spPr>
          <a:xfrm>
            <a:off x="359225" y="6300000"/>
            <a:ext cx="7200000" cy="21544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ru-RU" sz="700" cap="all" baseline="0" dirty="0">
                <a:solidFill>
                  <a:schemeClr val="bg1"/>
                </a:solidFill>
              </a:rPr>
              <a:t>НЕ ПРЕДНАЗНАЧЕНО ДЛЯ ПОЛНОГО ИЛИ ЧАСТИЧНОГО ОБНАРОДОВАНИЯ И/ИЛИ РАСПРОСТРАНЕНИЯ! </a:t>
            </a:r>
          </a:p>
          <a:p>
            <a:r>
              <a:rPr lang="ru-RU" sz="700" cap="all" baseline="0" dirty="0">
                <a:solidFill>
                  <a:schemeClr val="bg1"/>
                </a:solidFill>
              </a:rPr>
              <a:t>Передача этого документа или его части любым лицам или компаниям, не входящим в Группу МТС, строго запрещена!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AF37ECB6-AE83-4A10-8B49-5E51DD7C9893}"/>
              </a:ext>
            </a:extLst>
          </p:cNvPr>
          <p:cNvGrpSpPr>
            <a:grpSpLocks noChangeAspect="1"/>
          </p:cNvGrpSpPr>
          <p:nvPr/>
        </p:nvGrpSpPr>
        <p:grpSpPr>
          <a:xfrm>
            <a:off x="11471277" y="1"/>
            <a:ext cx="720724" cy="720724"/>
            <a:chOff x="3108325" y="923925"/>
            <a:chExt cx="1769268" cy="1769268"/>
          </a:xfrm>
        </p:grpSpPr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6FBCC5D0-0954-47E1-A954-56468CF38087}"/>
                </a:ext>
              </a:extLst>
            </p:cNvPr>
            <p:cNvSpPr/>
            <p:nvPr/>
          </p:nvSpPr>
          <p:spPr>
            <a:xfrm>
              <a:off x="3108325" y="923925"/>
              <a:ext cx="1769268" cy="1769268"/>
            </a:xfrm>
            <a:custGeom>
              <a:avLst/>
              <a:gdLst>
                <a:gd name="connsiteX0" fmla="*/ 0 w 1769268"/>
                <a:gd name="connsiteY0" fmla="*/ 0 h 1769268"/>
                <a:gd name="connsiteX1" fmla="*/ 1769269 w 1769268"/>
                <a:gd name="connsiteY1" fmla="*/ 0 h 1769268"/>
                <a:gd name="connsiteX2" fmla="*/ 1769269 w 1769268"/>
                <a:gd name="connsiteY2" fmla="*/ 1769269 h 1769268"/>
                <a:gd name="connsiteX3" fmla="*/ 0 w 1769268"/>
                <a:gd name="connsiteY3" fmla="*/ 1769269 h 17692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69268" h="1769268">
                  <a:moveTo>
                    <a:pt x="0" y="0"/>
                  </a:moveTo>
                  <a:lnTo>
                    <a:pt x="1769269" y="0"/>
                  </a:lnTo>
                  <a:lnTo>
                    <a:pt x="1769269" y="1769269"/>
                  </a:lnTo>
                  <a:lnTo>
                    <a:pt x="0" y="1769269"/>
                  </a:lnTo>
                  <a:close/>
                </a:path>
              </a:pathLst>
            </a:custGeom>
            <a:solidFill>
              <a:srgbClr val="FF003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3200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FD24826E-2644-41AE-95A5-56892B2991D3}"/>
                </a:ext>
              </a:extLst>
            </p:cNvPr>
            <p:cNvSpPr/>
            <p:nvPr/>
          </p:nvSpPr>
          <p:spPr>
            <a:xfrm>
              <a:off x="4287041" y="1058797"/>
              <a:ext cx="455198" cy="410716"/>
            </a:xfrm>
            <a:custGeom>
              <a:avLst/>
              <a:gdLst>
                <a:gd name="connsiteX0" fmla="*/ 0 w 455199"/>
                <a:gd name="connsiteY0" fmla="*/ 0 h 410717"/>
                <a:gd name="connsiteX1" fmla="*/ 0 w 455199"/>
                <a:gd name="connsiteY1" fmla="*/ 82487 h 410717"/>
                <a:gd name="connsiteX2" fmla="*/ 177832 w 455199"/>
                <a:gd name="connsiteY2" fmla="*/ 82487 h 410717"/>
                <a:gd name="connsiteX3" fmla="*/ 177832 w 455199"/>
                <a:gd name="connsiteY3" fmla="*/ 405479 h 410717"/>
                <a:gd name="connsiteX4" fmla="*/ 177927 w 455199"/>
                <a:gd name="connsiteY4" fmla="*/ 410718 h 410717"/>
                <a:gd name="connsiteX5" fmla="*/ 277463 w 455199"/>
                <a:gd name="connsiteY5" fmla="*/ 410718 h 410717"/>
                <a:gd name="connsiteX6" fmla="*/ 277463 w 455199"/>
                <a:gd name="connsiteY6" fmla="*/ 82487 h 410717"/>
                <a:gd name="connsiteX7" fmla="*/ 455200 w 455199"/>
                <a:gd name="connsiteY7" fmla="*/ 82487 h 410717"/>
                <a:gd name="connsiteX8" fmla="*/ 455200 w 455199"/>
                <a:gd name="connsiteY8" fmla="*/ 0 h 410717"/>
                <a:gd name="connsiteX9" fmla="*/ 0 w 455199"/>
                <a:gd name="connsiteY9" fmla="*/ 0 h 410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55199" h="410717">
                  <a:moveTo>
                    <a:pt x="0" y="0"/>
                  </a:moveTo>
                  <a:lnTo>
                    <a:pt x="0" y="82487"/>
                  </a:lnTo>
                  <a:lnTo>
                    <a:pt x="177832" y="82487"/>
                  </a:lnTo>
                  <a:lnTo>
                    <a:pt x="177832" y="405479"/>
                  </a:lnTo>
                  <a:lnTo>
                    <a:pt x="177927" y="410718"/>
                  </a:lnTo>
                  <a:lnTo>
                    <a:pt x="277463" y="410718"/>
                  </a:lnTo>
                  <a:lnTo>
                    <a:pt x="277463" y="82487"/>
                  </a:lnTo>
                  <a:lnTo>
                    <a:pt x="455200" y="82487"/>
                  </a:lnTo>
                  <a:lnTo>
                    <a:pt x="45520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3200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AADFF262-82A5-4569-9C69-07D2E006A365}"/>
                </a:ext>
              </a:extLst>
            </p:cNvPr>
            <p:cNvSpPr/>
            <p:nvPr/>
          </p:nvSpPr>
          <p:spPr>
            <a:xfrm>
              <a:off x="3244532" y="1060037"/>
              <a:ext cx="544163" cy="408336"/>
            </a:xfrm>
            <a:custGeom>
              <a:avLst/>
              <a:gdLst>
                <a:gd name="connsiteX0" fmla="*/ 402146 w 544163"/>
                <a:gd name="connsiteY0" fmla="*/ 0 h 408336"/>
                <a:gd name="connsiteX1" fmla="*/ 272129 w 544163"/>
                <a:gd name="connsiteY1" fmla="*/ 270034 h 408336"/>
                <a:gd name="connsiteX2" fmla="*/ 142018 w 544163"/>
                <a:gd name="connsiteY2" fmla="*/ 0 h 408336"/>
                <a:gd name="connsiteX3" fmla="*/ 0 w 544163"/>
                <a:gd name="connsiteY3" fmla="*/ 0 h 408336"/>
                <a:gd name="connsiteX4" fmla="*/ 0 w 544163"/>
                <a:gd name="connsiteY4" fmla="*/ 408337 h 408336"/>
                <a:gd name="connsiteX5" fmla="*/ 99536 w 544163"/>
                <a:gd name="connsiteY5" fmla="*/ 408337 h 408336"/>
                <a:gd name="connsiteX6" fmla="*/ 99536 w 544163"/>
                <a:gd name="connsiteY6" fmla="*/ 116110 h 408336"/>
                <a:gd name="connsiteX7" fmla="*/ 226695 w 544163"/>
                <a:gd name="connsiteY7" fmla="*/ 362903 h 408336"/>
                <a:gd name="connsiteX8" fmla="*/ 317468 w 544163"/>
                <a:gd name="connsiteY8" fmla="*/ 362903 h 408336"/>
                <a:gd name="connsiteX9" fmla="*/ 444627 w 544163"/>
                <a:gd name="connsiteY9" fmla="*/ 116110 h 408336"/>
                <a:gd name="connsiteX10" fmla="*/ 444627 w 544163"/>
                <a:gd name="connsiteY10" fmla="*/ 408337 h 408336"/>
                <a:gd name="connsiteX11" fmla="*/ 544163 w 544163"/>
                <a:gd name="connsiteY11" fmla="*/ 408337 h 408336"/>
                <a:gd name="connsiteX12" fmla="*/ 544163 w 544163"/>
                <a:gd name="connsiteY12" fmla="*/ 0 h 408336"/>
                <a:gd name="connsiteX13" fmla="*/ 402146 w 544163"/>
                <a:gd name="connsiteY13" fmla="*/ 0 h 4083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44163" h="408336">
                  <a:moveTo>
                    <a:pt x="402146" y="0"/>
                  </a:moveTo>
                  <a:lnTo>
                    <a:pt x="272129" y="270034"/>
                  </a:lnTo>
                  <a:lnTo>
                    <a:pt x="142018" y="0"/>
                  </a:lnTo>
                  <a:lnTo>
                    <a:pt x="0" y="0"/>
                  </a:lnTo>
                  <a:lnTo>
                    <a:pt x="0" y="408337"/>
                  </a:lnTo>
                  <a:lnTo>
                    <a:pt x="99536" y="408337"/>
                  </a:lnTo>
                  <a:lnTo>
                    <a:pt x="99536" y="116110"/>
                  </a:lnTo>
                  <a:lnTo>
                    <a:pt x="226695" y="362903"/>
                  </a:lnTo>
                  <a:lnTo>
                    <a:pt x="317468" y="362903"/>
                  </a:lnTo>
                  <a:lnTo>
                    <a:pt x="444627" y="116110"/>
                  </a:lnTo>
                  <a:lnTo>
                    <a:pt x="444627" y="408337"/>
                  </a:lnTo>
                  <a:lnTo>
                    <a:pt x="544163" y="408337"/>
                  </a:lnTo>
                  <a:lnTo>
                    <a:pt x="544163" y="0"/>
                  </a:lnTo>
                  <a:lnTo>
                    <a:pt x="402146" y="0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3200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16787170-C5D0-44C9-B40B-ED4580E218DC}"/>
                </a:ext>
              </a:extLst>
            </p:cNvPr>
            <p:cNvSpPr/>
            <p:nvPr/>
          </p:nvSpPr>
          <p:spPr>
            <a:xfrm>
              <a:off x="4287140" y="2139602"/>
              <a:ext cx="455007" cy="425856"/>
            </a:xfrm>
            <a:custGeom>
              <a:avLst/>
              <a:gdLst>
                <a:gd name="connsiteX0" fmla="*/ 352792 w 455007"/>
                <a:gd name="connsiteY0" fmla="*/ 281366 h 425856"/>
                <a:gd name="connsiteX1" fmla="*/ 333742 w 455007"/>
                <a:gd name="connsiteY1" fmla="*/ 321181 h 425856"/>
                <a:gd name="connsiteX2" fmla="*/ 293833 w 455007"/>
                <a:gd name="connsiteY2" fmla="*/ 341279 h 425856"/>
                <a:gd name="connsiteX3" fmla="*/ 227921 w 455007"/>
                <a:gd name="connsiteY3" fmla="*/ 347184 h 425856"/>
                <a:gd name="connsiteX4" fmla="*/ 158483 w 455007"/>
                <a:gd name="connsiteY4" fmla="*/ 337088 h 425856"/>
                <a:gd name="connsiteX5" fmla="*/ 113621 w 455007"/>
                <a:gd name="connsiteY5" fmla="*/ 303179 h 425856"/>
                <a:gd name="connsiteX6" fmla="*/ 97333 w 455007"/>
                <a:gd name="connsiteY6" fmla="*/ 234218 h 425856"/>
                <a:gd name="connsiteX7" fmla="*/ 97333 w 455007"/>
                <a:gd name="connsiteY7" fmla="*/ 192498 h 425856"/>
                <a:gd name="connsiteX8" fmla="*/ 113621 w 455007"/>
                <a:gd name="connsiteY8" fmla="*/ 123537 h 425856"/>
                <a:gd name="connsiteX9" fmla="*/ 158483 w 455007"/>
                <a:gd name="connsiteY9" fmla="*/ 89628 h 425856"/>
                <a:gd name="connsiteX10" fmla="*/ 227921 w 455007"/>
                <a:gd name="connsiteY10" fmla="*/ 79532 h 425856"/>
                <a:gd name="connsiteX11" fmla="*/ 293833 w 455007"/>
                <a:gd name="connsiteY11" fmla="*/ 85437 h 425856"/>
                <a:gd name="connsiteX12" fmla="*/ 333742 w 455007"/>
                <a:gd name="connsiteY12" fmla="*/ 105535 h 425856"/>
                <a:gd name="connsiteX13" fmla="*/ 352792 w 455007"/>
                <a:gd name="connsiteY13" fmla="*/ 145349 h 425856"/>
                <a:gd name="connsiteX14" fmla="*/ 452423 w 455007"/>
                <a:gd name="connsiteY14" fmla="*/ 145349 h 425856"/>
                <a:gd name="connsiteX15" fmla="*/ 418230 w 455007"/>
                <a:gd name="connsiteY15" fmla="*/ 59624 h 425856"/>
                <a:gd name="connsiteX16" fmla="*/ 343458 w 455007"/>
                <a:gd name="connsiteY16" fmla="*/ 14000 h 425856"/>
                <a:gd name="connsiteX17" fmla="*/ 227444 w 455007"/>
                <a:gd name="connsiteY17" fmla="*/ 93 h 425856"/>
                <a:gd name="connsiteX18" fmla="*/ 104382 w 455007"/>
                <a:gd name="connsiteY18" fmla="*/ 20477 h 425856"/>
                <a:gd name="connsiteX19" fmla="*/ 24847 w 455007"/>
                <a:gd name="connsiteY19" fmla="*/ 88580 h 425856"/>
                <a:gd name="connsiteX20" fmla="*/ -2584 w 455007"/>
                <a:gd name="connsiteY20" fmla="*/ 208310 h 425856"/>
                <a:gd name="connsiteX21" fmla="*/ -2584 w 455007"/>
                <a:gd name="connsiteY21" fmla="*/ 208310 h 425856"/>
                <a:gd name="connsiteX22" fmla="*/ -2584 w 455007"/>
                <a:gd name="connsiteY22" fmla="*/ 213072 h 425856"/>
                <a:gd name="connsiteX23" fmla="*/ 2653 w 455007"/>
                <a:gd name="connsiteY23" fmla="*/ 213072 h 425856"/>
                <a:gd name="connsiteX24" fmla="*/ -2584 w 455007"/>
                <a:gd name="connsiteY24" fmla="*/ 213072 h 425856"/>
                <a:gd name="connsiteX25" fmla="*/ -2584 w 455007"/>
                <a:gd name="connsiteY25" fmla="*/ 217644 h 425856"/>
                <a:gd name="connsiteX26" fmla="*/ -2584 w 455007"/>
                <a:gd name="connsiteY26" fmla="*/ 217644 h 425856"/>
                <a:gd name="connsiteX27" fmla="*/ 24847 w 455007"/>
                <a:gd name="connsiteY27" fmla="*/ 337373 h 425856"/>
                <a:gd name="connsiteX28" fmla="*/ 104382 w 455007"/>
                <a:gd name="connsiteY28" fmla="*/ 405382 h 425856"/>
                <a:gd name="connsiteX29" fmla="*/ 227444 w 455007"/>
                <a:gd name="connsiteY29" fmla="*/ 425765 h 425856"/>
                <a:gd name="connsiteX30" fmla="*/ 343458 w 455007"/>
                <a:gd name="connsiteY30" fmla="*/ 411954 h 425856"/>
                <a:gd name="connsiteX31" fmla="*/ 418230 w 455007"/>
                <a:gd name="connsiteY31" fmla="*/ 366234 h 425856"/>
                <a:gd name="connsiteX32" fmla="*/ 452423 w 455007"/>
                <a:gd name="connsiteY32" fmla="*/ 280509 h 4258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455007" h="425856">
                  <a:moveTo>
                    <a:pt x="352792" y="281366"/>
                  </a:moveTo>
                  <a:cubicBezTo>
                    <a:pt x="351078" y="296387"/>
                    <a:pt x="344316" y="310399"/>
                    <a:pt x="333742" y="321181"/>
                  </a:cubicBezTo>
                  <a:cubicBezTo>
                    <a:pt x="322503" y="331382"/>
                    <a:pt x="308693" y="338335"/>
                    <a:pt x="293833" y="341279"/>
                  </a:cubicBezTo>
                  <a:cubicBezTo>
                    <a:pt x="272116" y="345517"/>
                    <a:pt x="250017" y="347489"/>
                    <a:pt x="227921" y="347184"/>
                  </a:cubicBezTo>
                  <a:cubicBezTo>
                    <a:pt x="204394" y="347594"/>
                    <a:pt x="180961" y="344184"/>
                    <a:pt x="158483" y="337088"/>
                  </a:cubicBezTo>
                  <a:cubicBezTo>
                    <a:pt x="140196" y="331087"/>
                    <a:pt x="124383" y="319152"/>
                    <a:pt x="113621" y="303179"/>
                  </a:cubicBezTo>
                  <a:cubicBezTo>
                    <a:pt x="102856" y="287177"/>
                    <a:pt x="97333" y="263936"/>
                    <a:pt x="97333" y="234218"/>
                  </a:cubicBezTo>
                  <a:lnTo>
                    <a:pt x="97333" y="192498"/>
                  </a:lnTo>
                  <a:cubicBezTo>
                    <a:pt x="97333" y="162780"/>
                    <a:pt x="102856" y="139539"/>
                    <a:pt x="113621" y="123537"/>
                  </a:cubicBezTo>
                  <a:cubicBezTo>
                    <a:pt x="124383" y="107564"/>
                    <a:pt x="140196" y="95629"/>
                    <a:pt x="158483" y="89628"/>
                  </a:cubicBezTo>
                  <a:cubicBezTo>
                    <a:pt x="180961" y="82484"/>
                    <a:pt x="204394" y="79075"/>
                    <a:pt x="227921" y="79532"/>
                  </a:cubicBezTo>
                  <a:cubicBezTo>
                    <a:pt x="250017" y="79179"/>
                    <a:pt x="272116" y="81151"/>
                    <a:pt x="293833" y="85437"/>
                  </a:cubicBezTo>
                  <a:cubicBezTo>
                    <a:pt x="308693" y="88380"/>
                    <a:pt x="322503" y="95334"/>
                    <a:pt x="333742" y="105535"/>
                  </a:cubicBezTo>
                  <a:cubicBezTo>
                    <a:pt x="344316" y="116317"/>
                    <a:pt x="351078" y="130329"/>
                    <a:pt x="352792" y="145349"/>
                  </a:cubicBezTo>
                  <a:lnTo>
                    <a:pt x="452423" y="145349"/>
                  </a:lnTo>
                  <a:cubicBezTo>
                    <a:pt x="450709" y="113812"/>
                    <a:pt x="438708" y="83713"/>
                    <a:pt x="418230" y="59624"/>
                  </a:cubicBezTo>
                  <a:cubicBezTo>
                    <a:pt x="398227" y="37546"/>
                    <a:pt x="372224" y="21705"/>
                    <a:pt x="343458" y="14000"/>
                  </a:cubicBezTo>
                  <a:cubicBezTo>
                    <a:pt x="305644" y="4018"/>
                    <a:pt x="266590" y="-669"/>
                    <a:pt x="227444" y="93"/>
                  </a:cubicBezTo>
                  <a:cubicBezTo>
                    <a:pt x="185535" y="-897"/>
                    <a:pt x="143719" y="6018"/>
                    <a:pt x="104382" y="20477"/>
                  </a:cubicBezTo>
                  <a:cubicBezTo>
                    <a:pt x="70854" y="33431"/>
                    <a:pt x="42753" y="57462"/>
                    <a:pt x="24847" y="88580"/>
                  </a:cubicBezTo>
                  <a:cubicBezTo>
                    <a:pt x="7225" y="118775"/>
                    <a:pt x="-2014" y="158970"/>
                    <a:pt x="-2584" y="208310"/>
                  </a:cubicBezTo>
                  <a:lnTo>
                    <a:pt x="-2584" y="208310"/>
                  </a:lnTo>
                  <a:lnTo>
                    <a:pt x="-2584" y="213072"/>
                  </a:lnTo>
                  <a:lnTo>
                    <a:pt x="2653" y="213072"/>
                  </a:lnTo>
                  <a:lnTo>
                    <a:pt x="-2584" y="213072"/>
                  </a:lnTo>
                  <a:lnTo>
                    <a:pt x="-2584" y="217644"/>
                  </a:lnTo>
                  <a:lnTo>
                    <a:pt x="-2584" y="217644"/>
                  </a:lnTo>
                  <a:cubicBezTo>
                    <a:pt x="-2014" y="266984"/>
                    <a:pt x="6941" y="307179"/>
                    <a:pt x="24847" y="337373"/>
                  </a:cubicBezTo>
                  <a:cubicBezTo>
                    <a:pt x="42753" y="368492"/>
                    <a:pt x="70854" y="392495"/>
                    <a:pt x="104382" y="405382"/>
                  </a:cubicBezTo>
                  <a:cubicBezTo>
                    <a:pt x="143719" y="419831"/>
                    <a:pt x="185535" y="426747"/>
                    <a:pt x="227444" y="425765"/>
                  </a:cubicBezTo>
                  <a:cubicBezTo>
                    <a:pt x="266590" y="426556"/>
                    <a:pt x="305644" y="421908"/>
                    <a:pt x="343458" y="411954"/>
                  </a:cubicBezTo>
                  <a:cubicBezTo>
                    <a:pt x="372319" y="404258"/>
                    <a:pt x="398227" y="388380"/>
                    <a:pt x="418230" y="366234"/>
                  </a:cubicBezTo>
                  <a:cubicBezTo>
                    <a:pt x="438612" y="342145"/>
                    <a:pt x="450709" y="312047"/>
                    <a:pt x="452423" y="280509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3200"/>
            </a:p>
          </p:txBody>
        </p:sp>
      </p:grpSp>
    </p:spTree>
    <p:extLst>
      <p:ext uri="{BB962C8B-B14F-4D97-AF65-F5344CB8AC3E}">
        <p14:creationId xmlns:p14="http://schemas.microsoft.com/office/powerpoint/2010/main" val="373220829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EME / DIVIDERS">
    <p:bg>
      <p:bgPr>
        <a:solidFill>
          <a:srgbClr val="7A01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939C753-1782-4BD3-8356-A657C018F64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9" y="2119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4" name="think-cell Slide" r:id="rId4" imgW="359" imgH="367" progId="TCLayout.ActiveDocument.1">
                  <p:embed/>
                </p:oleObj>
              </mc:Choice>
              <mc:Fallback>
                <p:oleObj name="think-cell Slide" r:id="rId4" imgW="359" imgH="367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939C753-1782-4BD3-8356-A657C018F6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16ED118B-F8ED-4AC3-A2E3-5A7DD1D28CA0}"/>
              </a:ext>
            </a:extLst>
          </p:cNvPr>
          <p:cNvSpPr txBox="1"/>
          <p:nvPr/>
        </p:nvSpPr>
        <p:spPr>
          <a:xfrm>
            <a:off x="239185" y="5389993"/>
            <a:ext cx="11713632" cy="123123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indent="0" algn="l">
              <a:lnSpc>
                <a:spcPct val="80000"/>
              </a:lnSpc>
              <a:spcAft>
                <a:spcPts val="667"/>
              </a:spcAft>
              <a:buFont typeface="Arial" panose="020B0604020202020204" pitchFamily="34" charset="0"/>
              <a:buNone/>
            </a:pPr>
            <a:r>
              <a:rPr lang="ru-RU" sz="10001" dirty="0">
                <a:solidFill>
                  <a:schemeClr val="bg1"/>
                </a:solidFill>
                <a:latin typeface="+mj-lt"/>
              </a:rPr>
              <a:t>Разделители</a:t>
            </a:r>
          </a:p>
        </p:txBody>
      </p:sp>
      <p:sp>
        <p:nvSpPr>
          <p:cNvPr id="6" name="Isosceles Triangle 5">
            <a:extLst>
              <a:ext uri="{FF2B5EF4-FFF2-40B4-BE49-F238E27FC236}">
                <a16:creationId xmlns:a16="http://schemas.microsoft.com/office/drawing/2014/main" id="{40A0FFC8-1A3A-48E8-807B-BDA7BB6F965D}"/>
              </a:ext>
            </a:extLst>
          </p:cNvPr>
          <p:cNvSpPr/>
          <p:nvPr/>
        </p:nvSpPr>
        <p:spPr>
          <a:xfrm rot="5400000">
            <a:off x="9239249" y="1799171"/>
            <a:ext cx="2880784" cy="1200151"/>
          </a:xfrm>
          <a:custGeom>
            <a:avLst/>
            <a:gdLst>
              <a:gd name="connsiteX0" fmla="*/ 0 w 1321800"/>
              <a:gd name="connsiteY0" fmla="*/ 1139483 h 1139483"/>
              <a:gd name="connsiteX1" fmla="*/ 660900 w 1321800"/>
              <a:gd name="connsiteY1" fmla="*/ 0 h 1139483"/>
              <a:gd name="connsiteX2" fmla="*/ 1321800 w 1321800"/>
              <a:gd name="connsiteY2" fmla="*/ 1139483 h 1139483"/>
              <a:gd name="connsiteX3" fmla="*/ 0 w 1321800"/>
              <a:gd name="connsiteY3" fmla="*/ 1139483 h 1139483"/>
              <a:gd name="connsiteX0" fmla="*/ 0 w 1321800"/>
              <a:gd name="connsiteY0" fmla="*/ 1139483 h 1161550"/>
              <a:gd name="connsiteX1" fmla="*/ 660900 w 1321800"/>
              <a:gd name="connsiteY1" fmla="*/ 0 h 1161550"/>
              <a:gd name="connsiteX2" fmla="*/ 1321800 w 1321800"/>
              <a:gd name="connsiteY2" fmla="*/ 1139483 h 1161550"/>
              <a:gd name="connsiteX3" fmla="*/ 646833 w 1321800"/>
              <a:gd name="connsiteY3" fmla="*/ 1161550 h 1161550"/>
              <a:gd name="connsiteX4" fmla="*/ 0 w 1321800"/>
              <a:gd name="connsiteY4" fmla="*/ 1139483 h 1161550"/>
              <a:gd name="connsiteX0" fmla="*/ 646833 w 1321800"/>
              <a:gd name="connsiteY0" fmla="*/ 1161550 h 1252990"/>
              <a:gd name="connsiteX1" fmla="*/ 0 w 1321800"/>
              <a:gd name="connsiteY1" fmla="*/ 1139483 h 1252990"/>
              <a:gd name="connsiteX2" fmla="*/ 660900 w 1321800"/>
              <a:gd name="connsiteY2" fmla="*/ 0 h 1252990"/>
              <a:gd name="connsiteX3" fmla="*/ 1321800 w 1321800"/>
              <a:gd name="connsiteY3" fmla="*/ 1139483 h 1252990"/>
              <a:gd name="connsiteX4" fmla="*/ 738273 w 1321800"/>
              <a:gd name="connsiteY4" fmla="*/ 1252990 h 1252990"/>
              <a:gd name="connsiteX0" fmla="*/ 646833 w 1321800"/>
              <a:gd name="connsiteY0" fmla="*/ 1161550 h 1161550"/>
              <a:gd name="connsiteX1" fmla="*/ 0 w 1321800"/>
              <a:gd name="connsiteY1" fmla="*/ 1139483 h 1161550"/>
              <a:gd name="connsiteX2" fmla="*/ 660900 w 1321800"/>
              <a:gd name="connsiteY2" fmla="*/ 0 h 1161550"/>
              <a:gd name="connsiteX3" fmla="*/ 1321800 w 1321800"/>
              <a:gd name="connsiteY3" fmla="*/ 1139483 h 1161550"/>
              <a:gd name="connsiteX0" fmla="*/ 0 w 1321800"/>
              <a:gd name="connsiteY0" fmla="*/ 1139483 h 1139483"/>
              <a:gd name="connsiteX1" fmla="*/ 660900 w 1321800"/>
              <a:gd name="connsiteY1" fmla="*/ 0 h 1139483"/>
              <a:gd name="connsiteX2" fmla="*/ 1321800 w 1321800"/>
              <a:gd name="connsiteY2" fmla="*/ 1139483 h 11394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321800" h="1139483">
                <a:moveTo>
                  <a:pt x="0" y="1139483"/>
                </a:moveTo>
                <a:lnTo>
                  <a:pt x="660900" y="0"/>
                </a:lnTo>
                <a:lnTo>
                  <a:pt x="1321800" y="1139483"/>
                </a:lnTo>
              </a:path>
            </a:pathLst>
          </a:custGeom>
          <a:noFill/>
          <a:ln w="2540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 sz="320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FAC22DBF-02DF-44CF-8711-532C1B122CC0}"/>
              </a:ext>
            </a:extLst>
          </p:cNvPr>
          <p:cNvCxnSpPr>
            <a:cxnSpLocks/>
            <a:endCxn id="6" idx="1"/>
          </p:cNvCxnSpPr>
          <p:nvPr/>
        </p:nvCxnSpPr>
        <p:spPr>
          <a:xfrm>
            <a:off x="7679268" y="2399246"/>
            <a:ext cx="3600451" cy="1"/>
          </a:xfrm>
          <a:prstGeom prst="line">
            <a:avLst/>
          </a:prstGeom>
          <a:noFill/>
          <a:ln w="2540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</p:spTree>
    <p:extLst>
      <p:ext uri="{BB962C8B-B14F-4D97-AF65-F5344CB8AC3E}">
        <p14:creationId xmlns:p14="http://schemas.microsoft.com/office/powerpoint/2010/main" val="20314767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8.xml"/><Relationship Id="rId7" Type="http://schemas.openxmlformats.org/officeDocument/2006/relationships/slideLayout" Target="../slideLayouts/slideLayout12.xml"/><Relationship Id="rId12" Type="http://schemas.openxmlformats.org/officeDocument/2006/relationships/slideLayout" Target="../slideLayouts/slideLayout17.xml"/><Relationship Id="rId17" Type="http://schemas.openxmlformats.org/officeDocument/2006/relationships/image" Target="../media/image3.emf"/><Relationship Id="rId2" Type="http://schemas.openxmlformats.org/officeDocument/2006/relationships/slideLayout" Target="../slideLayouts/slideLayout7.xml"/><Relationship Id="rId16" Type="http://schemas.openxmlformats.org/officeDocument/2006/relationships/oleObject" Target="../embeddings/oleObject2.bin"/><Relationship Id="rId1" Type="http://schemas.openxmlformats.org/officeDocument/2006/relationships/slideLayout" Target="../slideLayouts/slideLayout6.xml"/><Relationship Id="rId6" Type="http://schemas.openxmlformats.org/officeDocument/2006/relationships/slideLayout" Target="../slideLayouts/slideLayout11.xml"/><Relationship Id="rId11" Type="http://schemas.openxmlformats.org/officeDocument/2006/relationships/slideLayout" Target="../slideLayouts/slideLayout16.xml"/><Relationship Id="rId5" Type="http://schemas.openxmlformats.org/officeDocument/2006/relationships/slideLayout" Target="../slideLayouts/slideLayout10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5.xml"/><Relationship Id="rId4" Type="http://schemas.openxmlformats.org/officeDocument/2006/relationships/slideLayout" Target="../slideLayouts/slideLayout9.xml"/><Relationship Id="rId9" Type="http://schemas.openxmlformats.org/officeDocument/2006/relationships/slideLayout" Target="../slideLayouts/slideLayout14.xml"/><Relationship Id="rId14" Type="http://schemas.openxmlformats.org/officeDocument/2006/relationships/vmlDrawing" Target="../drawings/vmlDrawing2.vml"/></Relationships>
</file>

<file path=ppt/slideMasters/_rels/slideMaster3.xml.rels><?xml version="1.0" encoding="UTF-8" standalone="yes"?>
<Relationships xmlns="http://schemas.openxmlformats.org/package/2006/relationships"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1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130400630" name="Заголовок 3"/>
          <p:cNvSpPr>
            <a:spLocks noGrp="1"/>
          </p:cNvSpPr>
          <p:nvPr>
            <p:ph type="title"/>
          </p:nvPr>
        </p:nvSpPr>
        <p:spPr bwMode="auto">
          <a:xfrm>
            <a:off x="481648" y="671256"/>
            <a:ext cx="10646027" cy="2925179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/>
          <a:p>
            <a:pPr marL="0" marR="0" lvl="0" indent="0">
              <a:lnSpc>
                <a:spcPct val="90000"/>
              </a:lnSpc>
              <a:spcAft>
                <a:spcPts val="0"/>
              </a:spcAft>
              <a:buClrTx/>
              <a:buSzTx/>
              <a:buFontTx/>
              <a:defRPr/>
            </a:pPr>
            <a:r>
              <a:rPr lang="ru-RU"/>
              <a:t>Образец заголовка</a:t>
            </a:r>
            <a:endParaRPr/>
          </a:p>
        </p:txBody>
      </p:sp>
      <p:sp>
        <p:nvSpPr>
          <p:cNvPr id="746141670" name="Date Placeholder 7"/>
          <p:cNvSpPr>
            <a:spLocks noGrp="1"/>
          </p:cNvSpPr>
          <p:nvPr>
            <p:ph type="dt" sz="half" idx="2"/>
          </p:nvPr>
        </p:nvSpPr>
        <p:spPr bwMode="auto">
          <a:xfrm>
            <a:off x="10487427" y="6243524"/>
            <a:ext cx="1188635" cy="203427"/>
          </a:xfrm>
          <a:prstGeom prst="rect">
            <a:avLst/>
          </a:prstGeom>
        </p:spPr>
        <p:txBody>
          <a:bodyPr lIns="0" tIns="0" rIns="0" bIns="0" anchor="t"/>
          <a:lstStyle>
            <a:lvl1pPr algn="r">
              <a:defRPr sz="1000" b="0" i="0" spc="33">
                <a:latin typeface="MTS Text"/>
                <a:ea typeface="MTS Text"/>
              </a:defRPr>
            </a:lvl1pPr>
          </a:lstStyle>
          <a:p>
            <a:pPr defTabSz="967502">
              <a:spcBef>
                <a:spcPts val="0"/>
              </a:spcBef>
              <a:defRPr/>
            </a:pPr>
            <a:fld id="{3E64D601-9BF4-9449-AE4F-D77C2C294A38}" type="datetimeFigureOut">
              <a:rPr lang="ru-RU"/>
              <a:t>05.04.2026</a:t>
            </a:fld>
            <a:endParaRPr/>
          </a:p>
        </p:txBody>
      </p:sp>
      <p:sp>
        <p:nvSpPr>
          <p:cNvPr id="979302823" name="Text Placeholder 1"/>
          <p:cNvSpPr>
            <a:spLocks noGrp="1"/>
          </p:cNvSpPr>
          <p:nvPr>
            <p:ph type="body" idx="1"/>
          </p:nvPr>
        </p:nvSpPr>
        <p:spPr bwMode="auto">
          <a:xfrm>
            <a:off x="515938" y="1893775"/>
            <a:ext cx="10515600" cy="434974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>
              <a:defRPr/>
            </a:pPr>
            <a:r>
              <a:rPr lang="en-GB"/>
              <a:t>Click to edit Master text styles</a:t>
            </a:r>
            <a:endParaRPr/>
          </a:p>
          <a:p>
            <a:pPr lvl="1">
              <a:defRPr/>
            </a:pPr>
            <a:r>
              <a:rPr lang="en-GB"/>
              <a:t>Second level</a:t>
            </a:r>
            <a:endParaRPr/>
          </a:p>
          <a:p>
            <a:pPr lvl="2">
              <a:defRPr/>
            </a:pPr>
            <a:r>
              <a:rPr lang="en-GB"/>
              <a:t>Third level</a:t>
            </a:r>
            <a:endParaRPr/>
          </a:p>
          <a:p>
            <a:pPr lvl="3">
              <a:defRPr/>
            </a:pPr>
            <a:r>
              <a:rPr lang="en-GB"/>
              <a:t>Fourth level</a:t>
            </a:r>
            <a:endParaRPr/>
          </a:p>
          <a:p>
            <a:pPr lvl="4">
              <a:defRPr/>
            </a:pPr>
            <a:r>
              <a:rPr lang="en-GB"/>
              <a:t>Fifth level</a:t>
            </a:r>
            <a:endParaRPr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68" r:id="rId4"/>
    <p:sldLayoutId id="2147483669" r:id="rId5"/>
  </p:sldLayoutIdLst>
  <p:hf hdr="0"/>
  <p:txStyles>
    <p:titleStyle>
      <a:lvl1pPr algn="l" defTabSz="967502">
        <a:spcBef>
          <a:spcPts val="0"/>
        </a:spcBef>
        <a:buNone/>
        <a:defRPr lang="ru-RU" sz="5400" b="0" i="0" cap="all" spc="-71">
          <a:solidFill>
            <a:schemeClr val="tx1"/>
          </a:solidFill>
          <a:latin typeface="MTS Wide Medium"/>
          <a:ea typeface="MTS Wide Medium"/>
          <a:cs typeface="Arial Black"/>
        </a:defRPr>
      </a:lvl1pPr>
    </p:titleStyle>
    <p:bodyStyle>
      <a:lvl1pPr marL="0" indent="0" algn="l" defTabSz="967502">
        <a:spcBef>
          <a:spcPts val="0"/>
        </a:spcBef>
        <a:buFontTx/>
        <a:buNone/>
        <a:defRPr sz="3400">
          <a:solidFill>
            <a:schemeClr val="tx1"/>
          </a:solidFill>
          <a:latin typeface="+mn-lt"/>
          <a:ea typeface="+mn-ea"/>
          <a:cs typeface="+mn-cs"/>
        </a:defRPr>
      </a:lvl1pPr>
      <a:lvl2pPr marL="483751" indent="0" algn="l" defTabSz="967502">
        <a:spcBef>
          <a:spcPts val="0"/>
        </a:spcBef>
        <a:buFontTx/>
        <a:buNone/>
        <a:defRPr sz="2900">
          <a:solidFill>
            <a:schemeClr val="tx1"/>
          </a:solidFill>
          <a:latin typeface="+mn-lt"/>
          <a:ea typeface="+mn-ea"/>
          <a:cs typeface="+mn-cs"/>
        </a:defRPr>
      </a:lvl2pPr>
      <a:lvl3pPr marL="967501" indent="0" algn="l" defTabSz="967502">
        <a:spcBef>
          <a:spcPts val="0"/>
        </a:spcBef>
        <a:buFontTx/>
        <a:buNone/>
        <a:defRPr sz="2500">
          <a:solidFill>
            <a:schemeClr val="tx1"/>
          </a:solidFill>
          <a:latin typeface="+mn-lt"/>
          <a:ea typeface="+mn-ea"/>
          <a:cs typeface="+mn-cs"/>
        </a:defRPr>
      </a:lvl3pPr>
      <a:lvl4pPr marL="1451253" indent="0" algn="l" defTabSz="967502">
        <a:spcBef>
          <a:spcPts val="0"/>
        </a:spcBef>
        <a:buFontTx/>
        <a:buNone/>
        <a:defRPr sz="2100">
          <a:solidFill>
            <a:schemeClr val="tx1"/>
          </a:solidFill>
          <a:latin typeface="+mn-lt"/>
          <a:ea typeface="+mn-ea"/>
          <a:cs typeface="+mn-cs"/>
        </a:defRPr>
      </a:lvl4pPr>
      <a:lvl5pPr marL="1935004" indent="0" algn="l" defTabSz="967502">
        <a:spcBef>
          <a:spcPts val="0"/>
        </a:spcBef>
        <a:buFontTx/>
        <a:buNone/>
        <a:defRPr sz="2100">
          <a:solidFill>
            <a:schemeClr val="tx1"/>
          </a:solidFill>
          <a:latin typeface="+mn-lt"/>
          <a:ea typeface="+mn-ea"/>
          <a:cs typeface="+mn-cs"/>
        </a:defRPr>
      </a:lvl5pPr>
      <a:lvl6pPr marL="2660631" indent="-241877" algn="l" defTabSz="967502">
        <a:spcBef>
          <a:spcPts val="0"/>
        </a:spcBef>
        <a:buFont typeface="Arial"/>
        <a:buChar char="•"/>
        <a:defRPr sz="2100">
          <a:solidFill>
            <a:schemeClr val="tx1"/>
          </a:solidFill>
          <a:latin typeface="+mn-lt"/>
          <a:ea typeface="+mn-ea"/>
          <a:cs typeface="+mn-cs"/>
        </a:defRPr>
      </a:lvl6pPr>
      <a:lvl7pPr marL="3144383" indent="-241877" algn="l" defTabSz="967502">
        <a:spcBef>
          <a:spcPts val="0"/>
        </a:spcBef>
        <a:buFont typeface="Arial"/>
        <a:buChar char="•"/>
        <a:defRPr sz="2100">
          <a:solidFill>
            <a:schemeClr val="tx1"/>
          </a:solidFill>
          <a:latin typeface="+mn-lt"/>
          <a:ea typeface="+mn-ea"/>
          <a:cs typeface="+mn-cs"/>
        </a:defRPr>
      </a:lvl7pPr>
      <a:lvl8pPr marL="3628133" indent="-241877" algn="l" defTabSz="967502">
        <a:spcBef>
          <a:spcPts val="0"/>
        </a:spcBef>
        <a:buFont typeface="Arial"/>
        <a:buChar char="•"/>
        <a:defRPr sz="2100">
          <a:solidFill>
            <a:schemeClr val="tx1"/>
          </a:solidFill>
          <a:latin typeface="+mn-lt"/>
          <a:ea typeface="+mn-ea"/>
          <a:cs typeface="+mn-cs"/>
        </a:defRPr>
      </a:lvl8pPr>
      <a:lvl9pPr marL="4111885" indent="-241877" algn="l" defTabSz="967502">
        <a:spcBef>
          <a:spcPts val="0"/>
        </a:spcBef>
        <a:buFont typeface="Arial"/>
        <a:buChar char="•"/>
        <a:defRPr sz="21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67502">
        <a:defRPr sz="1900">
          <a:solidFill>
            <a:schemeClr val="tx1"/>
          </a:solidFill>
          <a:latin typeface="+mn-lt"/>
          <a:ea typeface="+mn-ea"/>
          <a:cs typeface="+mn-cs"/>
        </a:defRPr>
      </a:lvl1pPr>
      <a:lvl2pPr marL="483751" algn="l" defTabSz="967502">
        <a:defRPr sz="1900">
          <a:solidFill>
            <a:schemeClr val="tx1"/>
          </a:solidFill>
          <a:latin typeface="+mn-lt"/>
          <a:ea typeface="+mn-ea"/>
          <a:cs typeface="+mn-cs"/>
        </a:defRPr>
      </a:lvl2pPr>
      <a:lvl3pPr marL="967502" algn="l" defTabSz="967502">
        <a:defRPr sz="1900">
          <a:solidFill>
            <a:schemeClr val="tx1"/>
          </a:solidFill>
          <a:latin typeface="+mn-lt"/>
          <a:ea typeface="+mn-ea"/>
          <a:cs typeface="+mn-cs"/>
        </a:defRPr>
      </a:lvl3pPr>
      <a:lvl4pPr marL="1451253" algn="l" defTabSz="967502">
        <a:defRPr sz="1900">
          <a:solidFill>
            <a:schemeClr val="tx1"/>
          </a:solidFill>
          <a:latin typeface="+mn-lt"/>
          <a:ea typeface="+mn-ea"/>
          <a:cs typeface="+mn-cs"/>
        </a:defRPr>
      </a:lvl4pPr>
      <a:lvl5pPr marL="1935005" algn="l" defTabSz="967502">
        <a:defRPr sz="1900">
          <a:solidFill>
            <a:schemeClr val="tx1"/>
          </a:solidFill>
          <a:latin typeface="+mn-lt"/>
          <a:ea typeface="+mn-ea"/>
          <a:cs typeface="+mn-cs"/>
        </a:defRPr>
      </a:lvl5pPr>
      <a:lvl6pPr marL="2418756" algn="l" defTabSz="967502">
        <a:defRPr sz="1900">
          <a:solidFill>
            <a:schemeClr val="tx1"/>
          </a:solidFill>
          <a:latin typeface="+mn-lt"/>
          <a:ea typeface="+mn-ea"/>
          <a:cs typeface="+mn-cs"/>
        </a:defRPr>
      </a:lvl6pPr>
      <a:lvl7pPr marL="2902506" algn="l" defTabSz="967502">
        <a:defRPr sz="1900">
          <a:solidFill>
            <a:schemeClr val="tx1"/>
          </a:solidFill>
          <a:latin typeface="+mn-lt"/>
          <a:ea typeface="+mn-ea"/>
          <a:cs typeface="+mn-cs"/>
        </a:defRPr>
      </a:lvl7pPr>
      <a:lvl8pPr marL="3386257" algn="l" defTabSz="967502">
        <a:defRPr sz="1900">
          <a:solidFill>
            <a:schemeClr val="tx1"/>
          </a:solidFill>
          <a:latin typeface="+mn-lt"/>
          <a:ea typeface="+mn-ea"/>
          <a:cs typeface="+mn-cs"/>
        </a:defRPr>
      </a:lvl8pPr>
      <a:lvl9pPr marL="3870009" algn="l" defTabSz="967502">
        <a:defRPr sz="19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17075B2A-F3D6-4ECE-A7A5-A076460397D0}"/>
              </a:ext>
            </a:extLst>
          </p:cNvPr>
          <p:cNvGraphicFramePr>
            <a:graphicFrameLocks noChangeAspect="1"/>
          </p:cNvGraphicFramePr>
          <p:nvPr>
            <p:custDataLst>
              <p:tags r:id="rId15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8" name="think-cell Slide" r:id="rId16" imgW="359" imgH="367" progId="TCLayout.ActiveDocument.1">
                  <p:embed/>
                </p:oleObj>
              </mc:Choice>
              <mc:Fallback>
                <p:oleObj name="think-cell Slide" r:id="rId16" imgW="359" imgH="367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17075B2A-F3D6-4ECE-A7A5-A076460397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oup 1">
            <a:extLst>
              <a:ext uri="{FF2B5EF4-FFF2-40B4-BE49-F238E27FC236}">
                <a16:creationId xmlns:a16="http://schemas.microsoft.com/office/drawing/2014/main" id="{43B75800-D5E4-4DAC-B948-DEF7CC80E53A}"/>
              </a:ext>
            </a:extLst>
          </p:cNvPr>
          <p:cNvGrpSpPr/>
          <p:nvPr userDrawn="1"/>
        </p:nvGrpSpPr>
        <p:grpSpPr>
          <a:xfrm>
            <a:off x="-1" y="-450000"/>
            <a:ext cx="6118210" cy="433026"/>
            <a:chOff x="-1" y="-432000"/>
            <a:chExt cx="6118210" cy="433026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885867EB-E63C-4DE6-9517-9905D7237EE7}"/>
                </a:ext>
              </a:extLst>
            </p:cNvPr>
            <p:cNvSpPr/>
            <p:nvPr/>
          </p:nvSpPr>
          <p:spPr>
            <a:xfrm>
              <a:off x="-1" y="-432000"/>
              <a:ext cx="2519364" cy="432000"/>
            </a:xfrm>
            <a:prstGeom prst="rect">
              <a:avLst/>
            </a:prstGeom>
            <a:solidFill>
              <a:srgbClr val="F2F3F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3200">
                <a:solidFill>
                  <a:schemeClr val="bg2"/>
                </a:solidFill>
              </a:endParaRPr>
            </a:p>
          </p:txBody>
        </p:sp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CDDAE0BB-0D9E-4010-A73C-25F4A656AE6D}"/>
                </a:ext>
              </a:extLst>
            </p:cNvPr>
            <p:cNvSpPr txBox="1"/>
            <p:nvPr/>
          </p:nvSpPr>
          <p:spPr>
            <a:xfrm>
              <a:off x="179712" y="-354933"/>
              <a:ext cx="1020476" cy="276999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r>
                <a:rPr lang="ru-RU" sz="900" dirty="0">
                  <a:latin typeface="MTS Text" panose="020B0306020102020303" pitchFamily="34" charset="0"/>
                  <a:ea typeface="MTS Text" panose="020B0306020102020303" pitchFamily="34" charset="0"/>
                </a:rPr>
                <a:t>Версия темы</a:t>
              </a:r>
            </a:p>
            <a:p>
              <a:r>
                <a:rPr lang="en-US" sz="900" dirty="0">
                  <a:latin typeface="MTS Text Medium" panose="020B0306020102020303" pitchFamily="34" charset="0"/>
                  <a:ea typeface="MTS Text Medium" panose="020B0306020102020303" pitchFamily="34" charset="0"/>
                </a:rPr>
                <a:t>mts-v2-tmp</a:t>
              </a:r>
              <a:endParaRPr lang="en-US" sz="900" dirty="0">
                <a:latin typeface="MTS Text" panose="020B0306020102020303" pitchFamily="34" charset="0"/>
                <a:ea typeface="MTS Text" panose="020B0306020102020303" pitchFamily="34" charset="0"/>
              </a:endParaRPr>
            </a:p>
          </p:txBody>
        </p:sp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18B870A2-02C1-4ECA-BF81-55356E4AF8F9}"/>
                </a:ext>
              </a:extLst>
            </p:cNvPr>
            <p:cNvSpPr txBox="1"/>
            <p:nvPr/>
          </p:nvSpPr>
          <p:spPr>
            <a:xfrm>
              <a:off x="1437216" y="-354933"/>
              <a:ext cx="958848" cy="276999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r>
                <a:rPr lang="ru-RU" sz="900" dirty="0">
                  <a:latin typeface="MTS Text" panose="020B0306020102020303" pitchFamily="34" charset="0"/>
                  <a:ea typeface="MTS Text" panose="020B0306020102020303" pitchFamily="34" charset="0"/>
                </a:rPr>
                <a:t>Включить сетку</a:t>
              </a:r>
              <a:endParaRPr lang="en-US" sz="900" dirty="0">
                <a:latin typeface="MTS Text" panose="020B0306020102020303" pitchFamily="34" charset="0"/>
                <a:ea typeface="MTS Text" panose="020B0306020102020303" pitchFamily="34" charset="0"/>
              </a:endParaRPr>
            </a:p>
            <a:p>
              <a:r>
                <a:rPr lang="en-US" sz="900" dirty="0">
                  <a:latin typeface="MTS Text Medium" panose="020B0306020102020303" pitchFamily="34" charset="0"/>
                  <a:ea typeface="MTS Text Medium" panose="020B0306020102020303" pitchFamily="34" charset="0"/>
                </a:rPr>
                <a:t>Alt</a:t>
              </a:r>
              <a:r>
                <a:rPr lang="ru-RU" sz="900" dirty="0">
                  <a:latin typeface="MTS Text Medium" panose="020B0306020102020303" pitchFamily="34" charset="0"/>
                  <a:ea typeface="MTS Text Medium" panose="020B0306020102020303" pitchFamily="34" charset="0"/>
                </a:rPr>
                <a:t> </a:t>
              </a:r>
              <a:r>
                <a:rPr lang="en-US" sz="900" dirty="0">
                  <a:latin typeface="MTS Text Medium" panose="020B0306020102020303" pitchFamily="34" charset="0"/>
                  <a:ea typeface="MTS Text Medium" panose="020B0306020102020303" pitchFamily="34" charset="0"/>
                </a:rPr>
                <a:t>+</a:t>
              </a:r>
              <a:r>
                <a:rPr lang="ru-RU" sz="900" dirty="0">
                  <a:latin typeface="MTS Text Medium" panose="020B0306020102020303" pitchFamily="34" charset="0"/>
                  <a:ea typeface="MTS Text Medium" panose="020B0306020102020303" pitchFamily="34" charset="0"/>
                </a:rPr>
                <a:t> </a:t>
              </a:r>
              <a:r>
                <a:rPr lang="en-US" sz="900" dirty="0">
                  <a:latin typeface="MTS Text Medium" panose="020B0306020102020303" pitchFamily="34" charset="0"/>
                  <a:ea typeface="MTS Text Medium" panose="020B0306020102020303" pitchFamily="34" charset="0"/>
                </a:rPr>
                <a:t>F</a:t>
              </a:r>
              <a:r>
                <a:rPr lang="ru-RU" sz="900" dirty="0">
                  <a:latin typeface="MTS Text Medium" panose="020B0306020102020303" pitchFamily="34" charset="0"/>
                  <a:ea typeface="MTS Text Medium" panose="020B0306020102020303" pitchFamily="34" charset="0"/>
                </a:rPr>
                <a:t>9</a:t>
              </a: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549958E2-7C50-4816-8FAC-F5124F51D52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678209" y="-180000"/>
              <a:ext cx="180000" cy="180000"/>
            </a:xfrm>
            <a:prstGeom prst="rect">
              <a:avLst/>
            </a:prstGeom>
            <a:solidFill>
              <a:srgbClr val="1D202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8000" tIns="24000" rIns="0" bIns="0" rtlCol="0" anchor="t"/>
            <a:lstStyle/>
            <a:p>
              <a:pPr algn="l"/>
              <a:r>
                <a:rPr lang="en-US" sz="600" dirty="0"/>
                <a:t>8</a:t>
              </a:r>
              <a:endParaRPr lang="ru-RU" sz="600" dirty="0"/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9BC0A757-7307-4E8B-BAB0-C6E9FBA46B3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858209" y="-180000"/>
              <a:ext cx="180000" cy="180000"/>
            </a:xfrm>
            <a:prstGeom prst="rect">
              <a:avLst/>
            </a:prstGeom>
            <a:solidFill>
              <a:srgbClr val="2C313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8000" tIns="24000" rIns="0" bIns="0" rtlCol="0" anchor="t"/>
            <a:lstStyle/>
            <a:p>
              <a:pPr algn="l"/>
              <a:r>
                <a:rPr lang="en-US" sz="600" dirty="0"/>
                <a:t>7</a:t>
              </a:r>
              <a:endParaRPr lang="ru-RU" sz="600" dirty="0"/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7607B155-5F41-463E-A904-E0267AE678A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038209" y="-180000"/>
              <a:ext cx="180000" cy="180000"/>
            </a:xfrm>
            <a:prstGeom prst="rect">
              <a:avLst/>
            </a:prstGeom>
            <a:solidFill>
              <a:srgbClr val="434A5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8000" tIns="24000" rIns="0" bIns="0" rtlCol="0" anchor="t"/>
            <a:lstStyle/>
            <a:p>
              <a:pPr algn="l"/>
              <a:r>
                <a:rPr lang="en-US" sz="600" dirty="0"/>
                <a:t>6</a:t>
              </a:r>
              <a:endParaRPr lang="ru-RU" sz="600" dirty="0"/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0616184A-866D-4BEA-AE8D-BE4C4BB803A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218209" y="-180000"/>
              <a:ext cx="180000" cy="180000"/>
            </a:xfrm>
            <a:prstGeom prst="rect">
              <a:avLst/>
            </a:prstGeom>
            <a:solidFill>
              <a:srgbClr val="626C7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8000" tIns="24000" rIns="0" bIns="0" rtlCol="0" anchor="t"/>
            <a:lstStyle/>
            <a:p>
              <a:pPr algn="l"/>
              <a:r>
                <a:rPr lang="en-US" sz="600" dirty="0"/>
                <a:t>5</a:t>
              </a:r>
              <a:endParaRPr lang="ru-RU" sz="600" dirty="0"/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B5E1F5DB-73ED-4940-B864-42A6840388C1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398209" y="-180000"/>
              <a:ext cx="180000" cy="180000"/>
            </a:xfrm>
            <a:prstGeom prst="rect">
              <a:avLst/>
            </a:prstGeom>
            <a:solidFill>
              <a:srgbClr val="969FA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8000" tIns="24000" rIns="0" bIns="0" rtlCol="0" anchor="t"/>
            <a:lstStyle/>
            <a:p>
              <a:pPr algn="l"/>
              <a:r>
                <a:rPr lang="en-US" sz="600" dirty="0">
                  <a:solidFill>
                    <a:srgbClr val="000000"/>
                  </a:solidFill>
                </a:rPr>
                <a:t>4</a:t>
              </a:r>
              <a:endParaRPr lang="ru-RU" sz="600" dirty="0">
                <a:solidFill>
                  <a:srgbClr val="000000"/>
                </a:solidFill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41C4DE49-1DA9-4DAB-8D61-5471FF8F89A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578209" y="-180000"/>
              <a:ext cx="180000" cy="180000"/>
            </a:xfrm>
            <a:prstGeom prst="rect">
              <a:avLst/>
            </a:prstGeom>
            <a:solidFill>
              <a:srgbClr val="BBC1C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8000" tIns="24000" rIns="0" bIns="0" rtlCol="0" anchor="t"/>
            <a:lstStyle/>
            <a:p>
              <a:pPr algn="l"/>
              <a:r>
                <a:rPr lang="en-US" sz="600" dirty="0">
                  <a:solidFill>
                    <a:srgbClr val="000000"/>
                  </a:solidFill>
                </a:rPr>
                <a:t>3</a:t>
              </a:r>
              <a:endParaRPr lang="ru-RU" sz="600" dirty="0">
                <a:solidFill>
                  <a:srgbClr val="000000"/>
                </a:solidFill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E02F401E-BB04-433D-9A1E-6CFB6AB9D801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758209" y="-180000"/>
              <a:ext cx="180000" cy="180000"/>
            </a:xfrm>
            <a:prstGeom prst="rect">
              <a:avLst/>
            </a:prstGeom>
            <a:solidFill>
              <a:srgbClr val="E2E5E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8000" tIns="24000" rIns="0" bIns="0" rtlCol="0" anchor="t"/>
            <a:lstStyle/>
            <a:p>
              <a:pPr algn="l"/>
              <a:r>
                <a:rPr lang="en-US" sz="600" dirty="0">
                  <a:solidFill>
                    <a:srgbClr val="000000"/>
                  </a:solidFill>
                </a:rPr>
                <a:t>2</a:t>
              </a:r>
              <a:endParaRPr lang="ru-RU" sz="600" dirty="0">
                <a:solidFill>
                  <a:srgbClr val="000000"/>
                </a:solidFill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5DA30835-B9E5-4899-B401-47FF2A59B92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938209" y="-180000"/>
              <a:ext cx="180000" cy="180000"/>
            </a:xfrm>
            <a:prstGeom prst="rect">
              <a:avLst/>
            </a:prstGeom>
            <a:solidFill>
              <a:srgbClr val="F2F3F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8000" tIns="24000" rIns="0" bIns="0" rtlCol="0" anchor="t"/>
            <a:lstStyle/>
            <a:p>
              <a:pPr algn="l"/>
              <a:r>
                <a:rPr lang="en-US" sz="600" dirty="0">
                  <a:solidFill>
                    <a:srgbClr val="000000"/>
                  </a:solidFill>
                </a:rPr>
                <a:t>1</a:t>
              </a:r>
              <a:endParaRPr lang="ru-RU" sz="600" dirty="0">
                <a:solidFill>
                  <a:srgbClr val="000000"/>
                </a:solidFill>
              </a:endParaRP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FBA8B509-64C6-4D7E-8091-EFB861329B26}"/>
                </a:ext>
              </a:extLst>
            </p:cNvPr>
            <p:cNvSpPr/>
            <p:nvPr/>
          </p:nvSpPr>
          <p:spPr>
            <a:xfrm>
              <a:off x="2520000" y="-179974"/>
              <a:ext cx="179973" cy="179973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3200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5C705F3C-2C17-4D4A-BE58-E65F051370B8}"/>
                </a:ext>
              </a:extLst>
            </p:cNvPr>
            <p:cNvSpPr/>
            <p:nvPr/>
          </p:nvSpPr>
          <p:spPr>
            <a:xfrm>
              <a:off x="2700000" y="-179974"/>
              <a:ext cx="179973" cy="179973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3200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1E1C4096-F5D7-4C35-AD4A-6828F1D83710}"/>
                </a:ext>
              </a:extLst>
            </p:cNvPr>
            <p:cNvSpPr/>
            <p:nvPr/>
          </p:nvSpPr>
          <p:spPr>
            <a:xfrm>
              <a:off x="2881385" y="-179974"/>
              <a:ext cx="179973" cy="179973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3200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B204AE21-DE07-4016-A5D0-A4FDD0F462D4}"/>
                </a:ext>
              </a:extLst>
            </p:cNvPr>
            <p:cNvSpPr/>
            <p:nvPr/>
          </p:nvSpPr>
          <p:spPr>
            <a:xfrm>
              <a:off x="3060746" y="-179974"/>
              <a:ext cx="179973" cy="179973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3200"/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D40AD0F6-741E-435B-9E4A-49E2F7276DDB}"/>
                </a:ext>
              </a:extLst>
            </p:cNvPr>
            <p:cNvSpPr/>
            <p:nvPr/>
          </p:nvSpPr>
          <p:spPr>
            <a:xfrm>
              <a:off x="3240000" y="-179974"/>
              <a:ext cx="179973" cy="179973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3200"/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D80EE298-93C0-425C-AE01-9F0EE54C941B}"/>
                </a:ext>
              </a:extLst>
            </p:cNvPr>
            <p:cNvSpPr/>
            <p:nvPr/>
          </p:nvSpPr>
          <p:spPr>
            <a:xfrm>
              <a:off x="3420477" y="-179974"/>
              <a:ext cx="179973" cy="179973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3200"/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F631FC3B-38AC-4375-8708-B19082E569A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958562" y="-180612"/>
              <a:ext cx="181638" cy="181638"/>
            </a:xfrm>
            <a:prstGeom prst="rect">
              <a:avLst/>
            </a:prstGeom>
            <a:solidFill>
              <a:srgbClr val="26CD5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3200"/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544CE297-C787-4AE6-91C0-42487624D6E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20000" y="-180977"/>
              <a:ext cx="179172" cy="179172"/>
            </a:xfrm>
            <a:prstGeom prst="rect">
              <a:avLst/>
            </a:prstGeom>
            <a:solidFill>
              <a:srgbClr val="FAC03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3200"/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26B19F75-2E5C-40F2-AAA1-3C3F79B34DA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140000" y="-180977"/>
              <a:ext cx="179172" cy="179172"/>
            </a:xfrm>
            <a:prstGeom prst="rect">
              <a:avLst/>
            </a:prstGeom>
            <a:solidFill>
              <a:srgbClr val="F9572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3200"/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358C957F-E5D3-461C-BF68-B1B0D4B07D8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779838" y="-180977"/>
              <a:ext cx="179172" cy="179172"/>
            </a:xfrm>
            <a:prstGeom prst="rect">
              <a:avLst/>
            </a:prstGeom>
            <a:solidFill>
              <a:srgbClr val="007C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3200" dirty="0"/>
            </a:p>
          </p:txBody>
        </p:sp>
      </p:grpSp>
    </p:spTree>
    <p:extLst>
      <p:ext uri="{BB962C8B-B14F-4D97-AF65-F5344CB8AC3E}">
        <p14:creationId xmlns:p14="http://schemas.microsoft.com/office/powerpoint/2010/main" val="21524918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3" r:id="rId1"/>
    <p:sldLayoutId id="2147483654" r:id="rId2"/>
    <p:sldLayoutId id="2147483655" r:id="rId3"/>
    <p:sldLayoutId id="2147483656" r:id="rId4"/>
    <p:sldLayoutId id="2147483657" r:id="rId5"/>
    <p:sldLayoutId id="2147483658" r:id="rId6"/>
    <p:sldLayoutId id="2147483659" r:id="rId7"/>
    <p:sldLayoutId id="2147483660" r:id="rId8"/>
    <p:sldLayoutId id="2147483661" r:id="rId9"/>
    <p:sldLayoutId id="2147483662" r:id="rId10"/>
    <p:sldLayoutId id="2147483663" r:id="rId11"/>
    <p:sldLayoutId id="2147483665" r:id="rId12"/>
  </p:sldLayoutIdLst>
  <p:txStyles>
    <p:titleStyle>
      <a:lvl1pPr algn="l" defTabSz="914423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5" indent="-228605" algn="l" defTabSz="914423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18" indent="-228605" algn="l" defTabSz="91442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28" indent="-228605" algn="l" defTabSz="91442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40" indent="-228605" algn="l" defTabSz="91442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52" indent="-228605" algn="l" defTabSz="91442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63" indent="-228605" algn="l" defTabSz="91442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75" indent="-228605" algn="l" defTabSz="91442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85" indent="-228605" algn="l" defTabSz="91442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98" indent="-228605" algn="l" defTabSz="91442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12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23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35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45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58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68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80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92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113">
          <p15:clr>
            <a:srgbClr val="000000"/>
          </p15:clr>
        </p15:guide>
        <p15:guide id="2" pos="227">
          <p15:clr>
            <a:srgbClr val="FFB3B3"/>
          </p15:clr>
        </p15:guide>
        <p15:guide id="3" pos="340">
          <p15:clr>
            <a:srgbClr val="FFB3B3"/>
          </p15:clr>
        </p15:guide>
        <p15:guide id="4" pos="454">
          <p15:clr>
            <a:srgbClr val="FFB3B3"/>
          </p15:clr>
        </p15:guide>
        <p15:guide id="5" pos="567">
          <p15:clr>
            <a:srgbClr val="FFB3B3"/>
          </p15:clr>
        </p15:guide>
        <p15:guide id="6" pos="680">
          <p15:clr>
            <a:srgbClr val="FFB3B3"/>
          </p15:clr>
        </p15:guide>
        <p15:guide id="7" pos="794">
          <p15:clr>
            <a:srgbClr val="FFB3B3"/>
          </p15:clr>
        </p15:guide>
        <p15:guide id="8" pos="907">
          <p15:clr>
            <a:srgbClr val="FFB3B3"/>
          </p15:clr>
        </p15:guide>
        <p15:guide id="9" pos="1020">
          <p15:clr>
            <a:srgbClr val="FFB3B3"/>
          </p15:clr>
        </p15:guide>
        <p15:guide id="10" pos="1134">
          <p15:clr>
            <a:srgbClr val="FFB3B3"/>
          </p15:clr>
        </p15:guide>
        <p15:guide id="11" pos="1247">
          <p15:clr>
            <a:srgbClr val="FFB3B3"/>
          </p15:clr>
        </p15:guide>
        <p15:guide id="12" pos="1361">
          <p15:clr>
            <a:srgbClr val="FFB3B3"/>
          </p15:clr>
        </p15:guide>
        <p15:guide id="13" pos="1474">
          <p15:clr>
            <a:srgbClr val="FFB3B3"/>
          </p15:clr>
        </p15:guide>
        <p15:guide id="14" pos="1587">
          <p15:clr>
            <a:srgbClr val="FFB3B3"/>
          </p15:clr>
        </p15:guide>
        <p15:guide id="15" pos="1701">
          <p15:clr>
            <a:srgbClr val="FFB3B3"/>
          </p15:clr>
        </p15:guide>
        <p15:guide id="16" pos="1814">
          <p15:clr>
            <a:srgbClr val="FFB3B3"/>
          </p15:clr>
        </p15:guide>
        <p15:guide id="17" pos="1928">
          <p15:clr>
            <a:srgbClr val="FFB3B3"/>
          </p15:clr>
        </p15:guide>
        <p15:guide id="18" pos="2041">
          <p15:clr>
            <a:srgbClr val="FFB3B3"/>
          </p15:clr>
        </p15:guide>
        <p15:guide id="19" pos="2154">
          <p15:clr>
            <a:srgbClr val="FFB3B3"/>
          </p15:clr>
        </p15:guide>
        <p15:guide id="20" pos="2268">
          <p15:clr>
            <a:srgbClr val="FFB3B3"/>
          </p15:clr>
        </p15:guide>
        <p15:guide id="21" pos="2381">
          <p15:clr>
            <a:srgbClr val="FFB3B3"/>
          </p15:clr>
        </p15:guide>
        <p15:guide id="22" pos="2494">
          <p15:clr>
            <a:srgbClr val="FFB3B3"/>
          </p15:clr>
        </p15:guide>
        <p15:guide id="23" pos="2608">
          <p15:clr>
            <a:srgbClr val="FFB3B3"/>
          </p15:clr>
        </p15:guide>
        <p15:guide id="24" pos="2721">
          <p15:clr>
            <a:srgbClr val="FFB3B3"/>
          </p15:clr>
        </p15:guide>
        <p15:guide id="25" pos="2835">
          <p15:clr>
            <a:srgbClr val="FFB3B3"/>
          </p15:clr>
        </p15:guide>
        <p15:guide id="26" pos="2948">
          <p15:clr>
            <a:srgbClr val="FFB3B3"/>
          </p15:clr>
        </p15:guide>
        <p15:guide id="27" pos="3061">
          <p15:clr>
            <a:srgbClr val="FFB3B3"/>
          </p15:clr>
        </p15:guide>
        <p15:guide id="28" pos="3175">
          <p15:clr>
            <a:srgbClr val="FFB3B3"/>
          </p15:clr>
        </p15:guide>
        <p15:guide id="29" pos="3288">
          <p15:clr>
            <a:srgbClr val="FFB3B3"/>
          </p15:clr>
        </p15:guide>
        <p15:guide id="30" pos="3402">
          <p15:clr>
            <a:srgbClr val="FFB3B3"/>
          </p15:clr>
        </p15:guide>
        <p15:guide id="31" pos="3515">
          <p15:clr>
            <a:srgbClr val="FFB3B3"/>
          </p15:clr>
        </p15:guide>
        <p15:guide id="32" pos="3628">
          <p15:clr>
            <a:srgbClr val="FFB3B3"/>
          </p15:clr>
        </p15:guide>
        <p15:guide id="33" pos="3742">
          <p15:clr>
            <a:srgbClr val="FFB3B3"/>
          </p15:clr>
        </p15:guide>
        <p15:guide id="34" pos="3855">
          <p15:clr>
            <a:srgbClr val="FFB3B3"/>
          </p15:clr>
        </p15:guide>
        <p15:guide id="35" pos="3969">
          <p15:clr>
            <a:srgbClr val="FFB3B3"/>
          </p15:clr>
        </p15:guide>
        <p15:guide id="36" pos="4082">
          <p15:clr>
            <a:srgbClr val="FFB3B3"/>
          </p15:clr>
        </p15:guide>
        <p15:guide id="37" pos="4195">
          <p15:clr>
            <a:srgbClr val="FFB3B3"/>
          </p15:clr>
        </p15:guide>
        <p15:guide id="38" pos="4309">
          <p15:clr>
            <a:srgbClr val="FFB3B3"/>
          </p15:clr>
        </p15:guide>
        <p15:guide id="39" pos="4422">
          <p15:clr>
            <a:srgbClr val="FFB3B3"/>
          </p15:clr>
        </p15:guide>
        <p15:guide id="40" pos="4535">
          <p15:clr>
            <a:srgbClr val="FFB3B3"/>
          </p15:clr>
        </p15:guide>
        <p15:guide id="41" pos="4649">
          <p15:clr>
            <a:srgbClr val="FFB3B3"/>
          </p15:clr>
        </p15:guide>
        <p15:guide id="42" pos="4762">
          <p15:clr>
            <a:srgbClr val="FFB3B3"/>
          </p15:clr>
        </p15:guide>
        <p15:guide id="43" pos="4876">
          <p15:clr>
            <a:srgbClr val="FFB3B3"/>
          </p15:clr>
        </p15:guide>
        <p15:guide id="44" pos="4989">
          <p15:clr>
            <a:srgbClr val="FFB3B3"/>
          </p15:clr>
        </p15:guide>
        <p15:guide id="45" pos="5102">
          <p15:clr>
            <a:srgbClr val="FFB3B3"/>
          </p15:clr>
        </p15:guide>
        <p15:guide id="46" pos="5216">
          <p15:clr>
            <a:srgbClr val="FFB3B3"/>
          </p15:clr>
        </p15:guide>
        <p15:guide id="47" pos="5329">
          <p15:clr>
            <a:srgbClr val="FFB3B3"/>
          </p15:clr>
        </p15:guide>
        <p15:guide id="48" pos="5443">
          <p15:clr>
            <a:srgbClr val="FFB3B3"/>
          </p15:clr>
        </p15:guide>
        <p15:guide id="49" pos="5556">
          <p15:clr>
            <a:srgbClr val="FFB3B3"/>
          </p15:clr>
        </p15:guide>
        <p15:guide id="50" pos="5669">
          <p15:clr>
            <a:srgbClr val="FFB3B3"/>
          </p15:clr>
        </p15:guide>
        <p15:guide id="51" pos="5783">
          <p15:clr>
            <a:srgbClr val="FFB3B3"/>
          </p15:clr>
        </p15:guide>
        <p15:guide id="52" pos="5896">
          <p15:clr>
            <a:srgbClr val="FFB3B3"/>
          </p15:clr>
        </p15:guide>
        <p15:guide id="53" pos="6009">
          <p15:clr>
            <a:srgbClr val="FFB3B3"/>
          </p15:clr>
        </p15:guide>
        <p15:guide id="54" pos="6123">
          <p15:clr>
            <a:srgbClr val="FFB3B3"/>
          </p15:clr>
        </p15:guide>
        <p15:guide id="55" pos="6236">
          <p15:clr>
            <a:srgbClr val="FFB3B3"/>
          </p15:clr>
        </p15:guide>
        <p15:guide id="56" pos="6350">
          <p15:clr>
            <a:srgbClr val="FFB3B3"/>
          </p15:clr>
        </p15:guide>
        <p15:guide id="57" pos="6463">
          <p15:clr>
            <a:srgbClr val="FFB3B3"/>
          </p15:clr>
        </p15:guide>
        <p15:guide id="58" pos="6576">
          <p15:clr>
            <a:srgbClr val="FFB3B3"/>
          </p15:clr>
        </p15:guide>
        <p15:guide id="59" pos="6690">
          <p15:clr>
            <a:srgbClr val="FFB3B3"/>
          </p15:clr>
        </p15:guide>
        <p15:guide id="60" pos="6803">
          <p15:clr>
            <a:srgbClr val="FFB3B3"/>
          </p15:clr>
        </p15:guide>
        <p15:guide id="61" pos="6917">
          <p15:clr>
            <a:srgbClr val="FFB3B3"/>
          </p15:clr>
        </p15:guide>
        <p15:guide id="62" pos="7030">
          <p15:clr>
            <a:srgbClr val="FFB3B3"/>
          </p15:clr>
        </p15:guide>
        <p15:guide id="63" pos="7143">
          <p15:clr>
            <a:srgbClr val="FFB3B3"/>
          </p15:clr>
        </p15:guide>
        <p15:guide id="64" pos="7257">
          <p15:clr>
            <a:srgbClr val="FFB3B3"/>
          </p15:clr>
        </p15:guide>
        <p15:guide id="65" pos="7370">
          <p15:clr>
            <a:srgbClr val="FFB3B3"/>
          </p15:clr>
        </p15:guide>
        <p15:guide id="66" pos="7483">
          <p15:clr>
            <a:srgbClr val="FFB3B3"/>
          </p15:clr>
        </p15:guide>
        <p15:guide id="67" pos="7567">
          <p15:clr>
            <a:srgbClr val="000000"/>
          </p15:clr>
        </p15:guide>
        <p15:guide id="68" orient="horz" pos="113">
          <p15:clr>
            <a:srgbClr val="000000"/>
          </p15:clr>
        </p15:guide>
        <p15:guide id="69" orient="horz" pos="227">
          <p15:clr>
            <a:srgbClr val="FFB3B3"/>
          </p15:clr>
        </p15:guide>
        <p15:guide id="70" orient="horz" pos="340">
          <p15:clr>
            <a:srgbClr val="FFB3B3"/>
          </p15:clr>
        </p15:guide>
        <p15:guide id="71" orient="horz" pos="454">
          <p15:clr>
            <a:srgbClr val="FFB3B3"/>
          </p15:clr>
        </p15:guide>
        <p15:guide id="72" orient="horz" pos="567">
          <p15:clr>
            <a:srgbClr val="FFB3B3"/>
          </p15:clr>
        </p15:guide>
        <p15:guide id="73" orient="horz" pos="680">
          <p15:clr>
            <a:srgbClr val="FFB3B3"/>
          </p15:clr>
        </p15:guide>
        <p15:guide id="74" orient="horz" pos="794">
          <p15:clr>
            <a:srgbClr val="FFB3B3"/>
          </p15:clr>
        </p15:guide>
        <p15:guide id="75" orient="horz" pos="907">
          <p15:clr>
            <a:srgbClr val="FFB3B3"/>
          </p15:clr>
        </p15:guide>
        <p15:guide id="76" orient="horz" pos="1020">
          <p15:clr>
            <a:srgbClr val="FFB3B3"/>
          </p15:clr>
        </p15:guide>
        <p15:guide id="77" orient="horz" pos="1134">
          <p15:clr>
            <a:srgbClr val="FFB3B3"/>
          </p15:clr>
        </p15:guide>
        <p15:guide id="78" orient="horz" pos="1247">
          <p15:clr>
            <a:srgbClr val="FFB3B3"/>
          </p15:clr>
        </p15:guide>
        <p15:guide id="79" orient="horz" pos="1361">
          <p15:clr>
            <a:srgbClr val="FFB3B3"/>
          </p15:clr>
        </p15:guide>
        <p15:guide id="80" orient="horz" pos="1474">
          <p15:clr>
            <a:srgbClr val="FFB3B3"/>
          </p15:clr>
        </p15:guide>
        <p15:guide id="81" orient="horz" pos="1587">
          <p15:clr>
            <a:srgbClr val="FFB3B3"/>
          </p15:clr>
        </p15:guide>
        <p15:guide id="82" orient="horz" pos="1701">
          <p15:clr>
            <a:srgbClr val="FFB3B3"/>
          </p15:clr>
        </p15:guide>
        <p15:guide id="83" orient="horz" pos="1814">
          <p15:clr>
            <a:srgbClr val="FFB3B3"/>
          </p15:clr>
        </p15:guide>
        <p15:guide id="84" orient="horz" pos="1928">
          <p15:clr>
            <a:srgbClr val="FFB3B3"/>
          </p15:clr>
        </p15:guide>
        <p15:guide id="85" orient="horz" pos="2041">
          <p15:clr>
            <a:srgbClr val="FFB3B3"/>
          </p15:clr>
        </p15:guide>
        <p15:guide id="86" orient="horz" pos="2154">
          <p15:clr>
            <a:srgbClr val="FFB3B3"/>
          </p15:clr>
        </p15:guide>
        <p15:guide id="87" orient="horz" pos="2268">
          <p15:clr>
            <a:srgbClr val="FFB3B3"/>
          </p15:clr>
        </p15:guide>
        <p15:guide id="88" orient="horz" pos="2381">
          <p15:clr>
            <a:srgbClr val="FFB3B3"/>
          </p15:clr>
        </p15:guide>
        <p15:guide id="89" orient="horz" pos="2494">
          <p15:clr>
            <a:srgbClr val="FFB3B3"/>
          </p15:clr>
        </p15:guide>
        <p15:guide id="90" orient="horz" pos="2608">
          <p15:clr>
            <a:srgbClr val="FFB3B3"/>
          </p15:clr>
        </p15:guide>
        <p15:guide id="91" orient="horz" pos="2721">
          <p15:clr>
            <a:srgbClr val="FFB3B3"/>
          </p15:clr>
        </p15:guide>
        <p15:guide id="92" orient="horz" pos="2835">
          <p15:clr>
            <a:srgbClr val="FFB3B3"/>
          </p15:clr>
        </p15:guide>
        <p15:guide id="93" orient="horz" pos="2948">
          <p15:clr>
            <a:srgbClr val="FFB3B3"/>
          </p15:clr>
        </p15:guide>
        <p15:guide id="94" orient="horz" pos="3061">
          <p15:clr>
            <a:srgbClr val="FFB3B3"/>
          </p15:clr>
        </p15:guide>
        <p15:guide id="95" orient="horz" pos="3175">
          <p15:clr>
            <a:srgbClr val="FFB3B3"/>
          </p15:clr>
        </p15:guide>
        <p15:guide id="96" orient="horz" pos="3288">
          <p15:clr>
            <a:srgbClr val="FFB3B3"/>
          </p15:clr>
        </p15:guide>
        <p15:guide id="97" orient="horz" pos="3402">
          <p15:clr>
            <a:srgbClr val="FFB3B3"/>
          </p15:clr>
        </p15:guide>
        <p15:guide id="98" orient="horz" pos="3515">
          <p15:clr>
            <a:srgbClr val="FFB3B3"/>
          </p15:clr>
        </p15:guide>
        <p15:guide id="99" orient="horz" pos="3628">
          <p15:clr>
            <a:srgbClr val="FFB3B3"/>
          </p15:clr>
        </p15:guide>
        <p15:guide id="100" orient="horz" pos="3742">
          <p15:clr>
            <a:srgbClr val="FFB3B3"/>
          </p15:clr>
        </p15:guide>
        <p15:guide id="101" orient="horz" pos="3855">
          <p15:clr>
            <a:srgbClr val="FFB3B3"/>
          </p15:clr>
        </p15:guide>
        <p15:guide id="102" orient="horz" pos="3969">
          <p15:clr>
            <a:srgbClr val="FFB3B3"/>
          </p15:clr>
        </p15:guide>
        <p15:guide id="103" orient="horz" pos="4082">
          <p15:clr>
            <a:srgbClr val="FFB3B3"/>
          </p15:clr>
        </p15:guide>
        <p15:guide id="104" orient="horz" pos="4207">
          <p15:clr>
            <a:srgbClr val="000000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895381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</p:sldLayoutIdLst>
  <p:hf sldNum="0" hdr="0" ftr="0" dt="0"/>
  <p:txStyles>
    <p:titleStyle>
      <a:lvl1pPr algn="ctr" defTabSz="609585" rtl="0" eaLnBrk="1" latinLnBrk="0" hangingPunct="1">
        <a:spcBef>
          <a:spcPct val="0"/>
        </a:spcBef>
        <a:buNone/>
        <a:defRPr sz="2933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94" indent="-228594" algn="l" defTabSz="609585" rtl="0" eaLnBrk="1" latinLnBrk="0" hangingPunct="1">
        <a:spcBef>
          <a:spcPct val="20000"/>
        </a:spcBef>
        <a:buFont typeface="Arial" pitchFamily="34" charset="0"/>
        <a:buChar char="•"/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495288" indent="-190495" algn="l" defTabSz="609585" rtl="0" eaLnBrk="1" latinLnBrk="0" hangingPunct="1">
        <a:spcBef>
          <a:spcPct val="20000"/>
        </a:spcBef>
        <a:buFont typeface="Arial" pitchFamily="34" charset="0"/>
        <a:buChar char="–"/>
        <a:defRPr sz="1867" kern="1200">
          <a:solidFill>
            <a:schemeClr val="tx1"/>
          </a:solidFill>
          <a:latin typeface="+mn-lt"/>
          <a:ea typeface="+mn-ea"/>
          <a:cs typeface="+mn-cs"/>
        </a:defRPr>
      </a:lvl2pPr>
      <a:lvl3pPr marL="761981" indent="-152396" algn="l" defTabSz="609585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066773" indent="-152396" algn="l" defTabSz="609585" rtl="0" eaLnBrk="1" latinLnBrk="0" hangingPunct="1">
        <a:spcBef>
          <a:spcPct val="20000"/>
        </a:spcBef>
        <a:buFont typeface="Arial" pitchFamily="34" charset="0"/>
        <a:buChar char="–"/>
        <a:defRPr sz="1333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indent="-152396" algn="l" defTabSz="609585" rtl="0" eaLnBrk="1" latinLnBrk="0" hangingPunct="1">
        <a:spcBef>
          <a:spcPct val="20000"/>
        </a:spcBef>
        <a:buFont typeface="Arial" pitchFamily="34" charset="0"/>
        <a:buChar char="»"/>
        <a:defRPr sz="1333" kern="1200">
          <a:solidFill>
            <a:schemeClr val="tx1"/>
          </a:solidFill>
          <a:latin typeface="+mn-lt"/>
          <a:ea typeface="+mn-ea"/>
          <a:cs typeface="+mn-cs"/>
        </a:defRPr>
      </a:lvl5pPr>
      <a:lvl6pPr marL="1676358" indent="-152396" algn="l" defTabSz="609585" rtl="0" eaLnBrk="1" latinLnBrk="0" hangingPunct="1">
        <a:spcBef>
          <a:spcPct val="20000"/>
        </a:spcBef>
        <a:buFont typeface="Arial" pitchFamily="34" charset="0"/>
        <a:buChar char="•"/>
        <a:defRPr sz="1333" kern="1200">
          <a:solidFill>
            <a:schemeClr val="tx1"/>
          </a:solidFill>
          <a:latin typeface="+mn-lt"/>
          <a:ea typeface="+mn-ea"/>
          <a:cs typeface="+mn-cs"/>
        </a:defRPr>
      </a:lvl6pPr>
      <a:lvl7pPr marL="1981150" indent="-152396" algn="l" defTabSz="609585" rtl="0" eaLnBrk="1" latinLnBrk="0" hangingPunct="1">
        <a:spcBef>
          <a:spcPct val="20000"/>
        </a:spcBef>
        <a:buFont typeface="Arial" pitchFamily="34" charset="0"/>
        <a:buChar char="•"/>
        <a:defRPr sz="1333" kern="1200">
          <a:solidFill>
            <a:schemeClr val="tx1"/>
          </a:solidFill>
          <a:latin typeface="+mn-lt"/>
          <a:ea typeface="+mn-ea"/>
          <a:cs typeface="+mn-cs"/>
        </a:defRPr>
      </a:lvl7pPr>
      <a:lvl8pPr marL="2285943" indent="-152396" algn="l" defTabSz="609585" rtl="0" eaLnBrk="1" latinLnBrk="0" hangingPunct="1">
        <a:spcBef>
          <a:spcPct val="20000"/>
        </a:spcBef>
        <a:buFont typeface="Arial" pitchFamily="34" charset="0"/>
        <a:buChar char="•"/>
        <a:defRPr sz="1333" kern="1200">
          <a:solidFill>
            <a:schemeClr val="tx1"/>
          </a:solidFill>
          <a:latin typeface="+mn-lt"/>
          <a:ea typeface="+mn-ea"/>
          <a:cs typeface="+mn-cs"/>
        </a:defRPr>
      </a:lvl8pPr>
      <a:lvl9pPr marL="2590735" indent="-152396" algn="l" defTabSz="609585" rtl="0" eaLnBrk="1" latinLnBrk="0" hangingPunct="1">
        <a:spcBef>
          <a:spcPct val="20000"/>
        </a:spcBef>
        <a:buFont typeface="Arial" pitchFamily="34" charset="0"/>
        <a:buChar char="•"/>
        <a:defRPr sz="133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304792" algn="l" defTabSz="609585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609585" algn="l" defTabSz="609585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914377" algn="l" defTabSz="609585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219170" algn="l" defTabSz="609585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523962" algn="l" defTabSz="609585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828754" algn="l" defTabSz="609585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2133547" algn="l" defTabSz="609585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2438339" algn="l" defTabSz="609585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4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1.mov"/><Relationship Id="rId1" Type="http://schemas.microsoft.com/office/2007/relationships/media" Target="../media/media1.mov"/><Relationship Id="rId5" Type="http://schemas.openxmlformats.org/officeDocument/2006/relationships/image" Target="../media/image27.png"/><Relationship Id="rId4" Type="http://schemas.openxmlformats.org/officeDocument/2006/relationships/notesSlide" Target="../notesSlides/notesSlide8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jpe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4.png"/><Relationship Id="rId5" Type="http://schemas.openxmlformats.org/officeDocument/2006/relationships/image" Target="../media/image33.png"/><Relationship Id="rId4" Type="http://schemas.openxmlformats.org/officeDocument/2006/relationships/image" Target="../media/image32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jpeg"/><Relationship Id="rId3" Type="http://schemas.openxmlformats.org/officeDocument/2006/relationships/image" Target="../media/image35.png"/><Relationship Id="rId7" Type="http://schemas.openxmlformats.org/officeDocument/2006/relationships/image" Target="../media/image37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40.svg"/><Relationship Id="rId5" Type="http://schemas.openxmlformats.org/officeDocument/2006/relationships/image" Target="../media/image36.png"/><Relationship Id="rId10" Type="http://schemas.openxmlformats.org/officeDocument/2006/relationships/image" Target="../media/image144.svg"/><Relationship Id="rId4" Type="http://schemas.openxmlformats.org/officeDocument/2006/relationships/image" Target="../media/image138.svg"/><Relationship Id="rId9" Type="http://schemas.openxmlformats.org/officeDocument/2006/relationships/image" Target="../media/image39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1.svg"/><Relationship Id="rId26" Type="http://schemas.openxmlformats.org/officeDocument/2006/relationships/image" Target="../media/image57.svg"/><Relationship Id="rId3" Type="http://schemas.openxmlformats.org/officeDocument/2006/relationships/image" Target="../media/image8.png"/><Relationship Id="rId21" Type="http://schemas.openxmlformats.org/officeDocument/2006/relationships/image" Target="../media/image13.png"/><Relationship Id="rId7" Type="http://schemas.openxmlformats.org/officeDocument/2006/relationships/image" Target="../media/image10.png"/><Relationship Id="rId25" Type="http://schemas.openxmlformats.org/officeDocument/2006/relationships/image" Target="../media/image16.png"/><Relationship Id="rId2" Type="http://schemas.openxmlformats.org/officeDocument/2006/relationships/notesSlide" Target="../notesSlides/notesSlide2.xml"/><Relationship Id="rId20" Type="http://schemas.openxmlformats.org/officeDocument/2006/relationships/image" Target="../media/image53.svg"/><Relationship Id="rId16" Type="http://schemas.openxmlformats.org/officeDocument/2006/relationships/image" Target="../media/image49.svg"/><Relationship Id="rId29" Type="http://schemas.openxmlformats.org/officeDocument/2006/relationships/image" Target="../media/image18.png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39.svg"/><Relationship Id="rId11" Type="http://schemas.openxmlformats.org/officeDocument/2006/relationships/image" Target="../media/image12.png"/><Relationship Id="rId24" Type="http://schemas.openxmlformats.org/officeDocument/2006/relationships/image" Target="../media/image15.png"/><Relationship Id="rId5" Type="http://schemas.openxmlformats.org/officeDocument/2006/relationships/image" Target="../media/image9.png"/><Relationship Id="rId23" Type="http://schemas.openxmlformats.org/officeDocument/2006/relationships/image" Target="../media/image14.png"/><Relationship Id="rId28" Type="http://schemas.openxmlformats.org/officeDocument/2006/relationships/image" Target="../media/image59.svg"/><Relationship Id="rId10" Type="http://schemas.openxmlformats.org/officeDocument/2006/relationships/image" Target="../media/image43.svg"/><Relationship Id="rId31" Type="http://schemas.openxmlformats.org/officeDocument/2006/relationships/image" Target="../media/image19.png"/><Relationship Id="rId4" Type="http://schemas.openxmlformats.org/officeDocument/2006/relationships/image" Target="../media/image37.svg"/><Relationship Id="rId9" Type="http://schemas.openxmlformats.org/officeDocument/2006/relationships/image" Target="../media/image11.png"/><Relationship Id="rId22" Type="http://schemas.openxmlformats.org/officeDocument/2006/relationships/image" Target="../media/image55.svg"/><Relationship Id="rId14" Type="http://schemas.openxmlformats.org/officeDocument/2006/relationships/image" Target="../media/image47.svg"/><Relationship Id="rId27" Type="http://schemas.openxmlformats.org/officeDocument/2006/relationships/image" Target="../media/image17.png"/><Relationship Id="rId30" Type="http://schemas.openxmlformats.org/officeDocument/2006/relationships/image" Target="../media/image61.sv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3.jpeg"/><Relationship Id="rId4" Type="http://schemas.openxmlformats.org/officeDocument/2006/relationships/image" Target="../media/image22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B50BDE55-A7D6-42A1-A143-F94F63BEAE8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5" name="Слайд think-cell" r:id="rId5" imgW="366" imgH="396" progId="TCLayout.ActiveDocument.1">
                  <p:embed/>
                </p:oleObj>
              </mc:Choice>
              <mc:Fallback>
                <p:oleObj name="Слайд think-cell" r:id="rId5" imgW="366" imgH="39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50BDE55-A7D6-42A1-A143-F94F63BEAE8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2C84FAB3-C2C4-4722-A496-1707CAFB8A32}"/>
              </a:ext>
            </a:extLst>
          </p:cNvPr>
          <p:cNvSpPr/>
          <p:nvPr/>
        </p:nvSpPr>
        <p:spPr>
          <a:xfrm>
            <a:off x="199159" y="6086912"/>
            <a:ext cx="8285084" cy="771087"/>
          </a:xfrm>
          <a:prstGeom prst="roundRect">
            <a:avLst>
              <a:gd name="adj" fmla="val 50000"/>
            </a:avLst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ctr"/>
          <a:lstStyle/>
          <a:p>
            <a:pPr marL="0" marR="0" lvl="0" indent="0" defTabSz="45722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kern="1200" spc="50" dirty="0" smtClean="0">
                <a:solidFill>
                  <a:srgbClr val="FFFFFF"/>
                </a:solidFill>
                <a:latin typeface="MTS Extended" panose="020B0306020102020303" pitchFamily="34" charset="0"/>
                <a:ea typeface="MTS Extended" panose="020B0306020102020303" pitchFamily="34" charset="0"/>
                <a:cs typeface="MTS Wide Medium" pitchFamily="34" charset="-120"/>
              </a:rPr>
              <a:t>ПАВЕЛ ФЕДОСОВ – ЦЕНТР ИНДУСТРИАЛЬНЫХ ПРОДУКТОВ И РЕШЕНИЙ</a:t>
            </a:r>
          </a:p>
          <a:p>
            <a:pPr marL="0" marR="0" lvl="0" indent="0" defTabSz="45722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kern="1200" spc="50" noProof="0" dirty="0" smtClean="0">
                <a:solidFill>
                  <a:srgbClr val="FFFFFF"/>
                </a:solidFill>
                <a:latin typeface="MTS Extended" panose="020B0306020102020303" pitchFamily="34" charset="0"/>
                <a:ea typeface="MTS Extended" panose="020B0306020102020303" pitchFamily="34" charset="0"/>
                <a:cs typeface="MTS Wide Medium" pitchFamily="34" charset="-120"/>
              </a:rPr>
              <a:t>ПАО МТС</a:t>
            </a:r>
            <a:endParaRPr kumimoji="0" lang="en-US" sz="1200" b="0" i="0" u="none" strike="noStrike" kern="1200" cap="none" spc="5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TS Extended" panose="020B0306020102020303" pitchFamily="34" charset="0"/>
              <a:ea typeface="MTS Extended" panose="020B0306020102020303" pitchFamily="34" charset="0"/>
              <a:cs typeface="MTS Wide Medium" pitchFamily="34" charset="-120"/>
            </a:endParaRPr>
          </a:p>
        </p:txBody>
      </p:sp>
      <p:sp>
        <p:nvSpPr>
          <p:cNvPr id="11" name="Title 16">
            <a:extLst>
              <a:ext uri="{FF2B5EF4-FFF2-40B4-BE49-F238E27FC236}">
                <a16:creationId xmlns:a16="http://schemas.microsoft.com/office/drawing/2014/main" id="{0BCF30D0-AE69-43D2-ADED-4A6827CDDBA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38059" y="2978048"/>
            <a:ext cx="7445491" cy="1665071"/>
          </a:xfrm>
        </p:spPr>
        <p:txBody>
          <a:bodyPr vert="horz"/>
          <a:lstStyle/>
          <a:p>
            <a:r>
              <a:rPr lang="ru-RU" sz="4500" dirty="0" smtClean="0">
                <a:latin typeface="MTS Extended Medium" panose="020B0306020102020303" pitchFamily="34" charset="0"/>
                <a:ea typeface="MTS Extended Medium" panose="020B0306020102020303" pitchFamily="34" charset="0"/>
              </a:rPr>
              <a:t>Есть ли предел эффективности производства?</a:t>
            </a:r>
            <a:endParaRPr lang="ru-RU" sz="4500" dirty="0">
              <a:latin typeface="MTS Extended Medium" panose="020B0306020102020303" pitchFamily="34" charset="0"/>
              <a:ea typeface="MTS Extended Medium" panose="020B0306020102020303" pitchFamily="34" charset="0"/>
            </a:endParaRPr>
          </a:p>
        </p:txBody>
      </p:sp>
      <p:sp>
        <p:nvSpPr>
          <p:cNvPr id="12" name="Text Placeholder 17">
            <a:extLst>
              <a:ext uri="{FF2B5EF4-FFF2-40B4-BE49-F238E27FC236}">
                <a16:creationId xmlns:a16="http://schemas.microsoft.com/office/drawing/2014/main" id="{5F20539A-A62E-43D3-B6C5-5AEB9A4F0BD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60362" y="5009232"/>
            <a:ext cx="10440001" cy="923330"/>
          </a:xfrm>
        </p:spPr>
        <p:txBody>
          <a:bodyPr/>
          <a:lstStyle/>
          <a:p>
            <a:r>
              <a:rPr lang="ru-RU" dirty="0" smtClean="0"/>
              <a:t>ТТС Конференция</a:t>
            </a:r>
            <a:endParaRPr lang="ru-RU" dirty="0"/>
          </a:p>
          <a:p>
            <a:r>
              <a:rPr lang="ru-RU" dirty="0" smtClean="0"/>
              <a:t>06</a:t>
            </a:r>
            <a:r>
              <a:rPr lang="ru-RU" dirty="0" smtClean="0"/>
              <a:t> апреля 2026</a:t>
            </a:r>
          </a:p>
          <a:p>
            <a:r>
              <a:rPr lang="ru-RU" dirty="0"/>
              <a:t>с</a:t>
            </a:r>
            <a:r>
              <a:rPr lang="ru-RU" dirty="0" smtClean="0"/>
              <a:t>. </a:t>
            </a:r>
            <a:r>
              <a:rPr lang="ru-RU" dirty="0" err="1" smtClean="0"/>
              <a:t>Манжерок</a:t>
            </a:r>
            <a:r>
              <a:rPr lang="ru-RU" dirty="0" smtClean="0"/>
              <a:t>, Алтай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77128207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09360992" name="Slide Number Placeholder 2"/>
          <p:cNvSpPr>
            <a:spLocks noGrp="1"/>
          </p:cNvSpPr>
          <p:nvPr>
            <p:ph type="sldNum" sz="quarter" idx="4"/>
          </p:nvPr>
        </p:nvSpPr>
        <p:spPr bwMode="auto">
          <a:xfrm>
            <a:off x="11478355" y="6504739"/>
            <a:ext cx="515937" cy="181885"/>
          </a:xfrm>
          <a:prstGeom prst="rect">
            <a:avLst/>
          </a:prstGeom>
        </p:spPr>
        <p:txBody>
          <a:bodyPr/>
          <a:lstStyle>
            <a:lvl1pPr algn="r">
              <a:defRPr sz="900" b="0" i="0">
                <a:solidFill>
                  <a:schemeClr val="bg1">
                    <a:lumMod val="75000"/>
                  </a:schemeClr>
                </a:solidFill>
                <a:latin typeface="MTS Wide"/>
                <a:ea typeface="MTS Wide"/>
                <a:cs typeface="+mn-cs"/>
              </a:defRPr>
            </a:lvl1pPr>
          </a:lstStyle>
          <a:p>
            <a:pPr defTabSz="430123">
              <a:defRPr/>
            </a:pPr>
            <a:fld id="{42679971-4884-0774-DABC-09BC87A25610}" type="slidenum">
              <a:rPr lang="ru-RU"/>
              <a:t>10</a:t>
            </a:fld>
            <a:endParaRPr lang="ru-RU"/>
          </a:p>
        </p:txBody>
      </p:sp>
      <p:sp>
        <p:nvSpPr>
          <p:cNvPr id="1916455766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515938" y="237170"/>
            <a:ext cx="10685463" cy="477172"/>
          </a:xfrm>
        </p:spPr>
        <p:txBody>
          <a:bodyPr/>
          <a:lstStyle>
            <a:lvl1pPr>
              <a:defRPr sz="3200"/>
            </a:lvl1pPr>
          </a:lstStyle>
          <a:p>
            <a:pPr>
              <a:defRPr/>
            </a:pPr>
            <a:r>
              <a:rPr/>
              <a:t>Не улучшение — новая кривая роста</a:t>
            </a:r>
          </a:p>
        </p:txBody>
      </p:sp>
      <p:pic>
        <p:nvPicPr>
          <p:cNvPr id="6" name="Интегр_бизнес-план_ГОК - 1.1">
            <a:hlinkClick r:id="" action="ppaction://media"/>
          </p:cNvPr>
          <p:cNvPicPr>
            <a:picLocks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0" y="-71519"/>
            <a:ext cx="12191999" cy="6929520"/>
          </a:xfrm>
          <a:prstGeom prst="roundRect">
            <a:avLst>
              <a:gd name="adj" fmla="val 3447"/>
            </a:avLst>
          </a:prstGeom>
        </p:spPr>
      </p:pic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/>
    </mc:Choice>
    <mc:Fallback xmlns:w="http://schemas.openxmlformats.org/wordprocessingml/2006/main" xmlns:m="http://schemas.openxmlformats.org/officeDocument/2006/math" xmlns="">
      <p:transition advClick="1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70069" fill="hold"/>
                                        <p:tgtEl>
                                          <p:spTgt spid="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seq concurrent="1" nextAc="seek">
              <p:cTn id="7" restart="whenNotActive" fill="hold" evtFilter="cancelBubble" nodeType="interactiveSeq">
                <p:stCondLst>
                  <p:cond evt="onClick" delay="0">
                    <p:tgtEl>
                      <p:spTgt spid="6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8" fill="hold">
                      <p:stCondLst>
                        <p:cond delay="0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1" dur="1" fill="hold"/>
                                        <p:tgtEl>
                                          <p:spTgt spid="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6"/>
                  </p:tgtEl>
                </p:cond>
              </p:nextCondLst>
            </p:seq>
            <p:video>
              <p:cMediaNode vol="80000">
                <p:cTn id="12" fill="hold" display="0">
                  <p:stCondLst>
                    <p:cond delay="indefinite"/>
                  </p:stCondLst>
                </p:cTn>
                <p:tgtEl>
                  <p:spTgt spid="6"/>
                </p:tgtEl>
              </p:cMediaNode>
            </p:video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430123">
              <a:defRPr/>
            </a:pPr>
            <a:fld id="{A7E88AC1-0904-3C47-875C-3F6E82802988}" type="slidenum">
              <a:rPr lang="ru-RU" smtClean="0"/>
              <a:t>11</a:t>
            </a:fld>
            <a:endParaRPr lang="ru-RU"/>
          </a:p>
        </p:txBody>
      </p:sp>
      <p:sp>
        <p:nvSpPr>
          <p:cNvPr id="5" name="Заголовок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дядя коля</a:t>
            </a:r>
            <a:r>
              <a:rPr lang="en-US" dirty="0" smtClean="0"/>
              <a:t> VS </a:t>
            </a:r>
            <a:r>
              <a:rPr lang="ru-RU" dirty="0" smtClean="0"/>
              <a:t>Гуманоид </a:t>
            </a:r>
            <a:r>
              <a:rPr lang="en-US" dirty="0" smtClean="0"/>
              <a:t>vs </a:t>
            </a:r>
            <a:r>
              <a:rPr lang="ru-RU" dirty="0" err="1" smtClean="0"/>
              <a:t>промробот</a:t>
            </a:r>
            <a:endParaRPr lang="ru-RU" dirty="0"/>
          </a:p>
        </p:txBody>
      </p:sp>
      <p:pic>
        <p:nvPicPr>
          <p:cNvPr id="19458" name="Picture 2" descr="Picture background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933" r="10591"/>
          <a:stretch/>
        </p:blipFill>
        <p:spPr bwMode="auto">
          <a:xfrm>
            <a:off x="502920" y="1240372"/>
            <a:ext cx="5765907" cy="49614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0" name="Таблица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66420098"/>
              </p:ext>
            </p:extLst>
          </p:nvPr>
        </p:nvGraphicFramePr>
        <p:xfrm>
          <a:off x="4580708" y="3275732"/>
          <a:ext cx="7611292" cy="2926080"/>
        </p:xfrm>
        <a:graphic>
          <a:graphicData uri="http://schemas.openxmlformats.org/drawingml/2006/table">
            <a:tbl>
              <a:tblPr/>
              <a:tblGrid>
                <a:gridCol w="1902823">
                  <a:extLst>
                    <a:ext uri="{9D8B030D-6E8A-4147-A177-3AD203B41FA5}">
                      <a16:colId xmlns:a16="http://schemas.microsoft.com/office/drawing/2014/main" val="1819645643"/>
                    </a:ext>
                  </a:extLst>
                </a:gridCol>
                <a:gridCol w="1902823">
                  <a:extLst>
                    <a:ext uri="{9D8B030D-6E8A-4147-A177-3AD203B41FA5}">
                      <a16:colId xmlns:a16="http://schemas.microsoft.com/office/drawing/2014/main" val="3830701765"/>
                    </a:ext>
                  </a:extLst>
                </a:gridCol>
                <a:gridCol w="1902823">
                  <a:extLst>
                    <a:ext uri="{9D8B030D-6E8A-4147-A177-3AD203B41FA5}">
                      <a16:colId xmlns:a16="http://schemas.microsoft.com/office/drawing/2014/main" val="82684905"/>
                    </a:ext>
                  </a:extLst>
                </a:gridCol>
                <a:gridCol w="1902823">
                  <a:extLst>
                    <a:ext uri="{9D8B030D-6E8A-4147-A177-3AD203B41FA5}">
                      <a16:colId xmlns:a16="http://schemas.microsoft.com/office/drawing/2014/main" val="1835165391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fontAlgn="b"/>
                      <a:endParaRPr lang="ru-RU" b="1" dirty="0">
                        <a:solidFill>
                          <a:srgbClr val="111827"/>
                        </a:solidFill>
                        <a:effectLst/>
                      </a:endParaRPr>
                    </a:p>
                  </a:txBody>
                  <a:tcPr anchor="b">
                    <a:lnL w="9525" cap="flat" cmpd="sng" algn="ctr">
                      <a:solidFill>
                        <a:srgbClr val="CDCD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DCD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DCD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DCD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ECEC"/>
                    </a:solidFill>
                  </a:tcPr>
                </a:tc>
                <a:tc>
                  <a:txBody>
                    <a:bodyPr/>
                    <a:lstStyle/>
                    <a:p>
                      <a:pPr fontAlgn="b"/>
                      <a:r>
                        <a:rPr lang="ru-RU" b="1" dirty="0">
                          <a:solidFill>
                            <a:srgbClr val="111827"/>
                          </a:solidFill>
                          <a:effectLst/>
                        </a:rPr>
                        <a:t>👷 Оператор</a:t>
                      </a:r>
                    </a:p>
                  </a:txBody>
                  <a:tcPr anchor="b">
                    <a:lnL w="9525" cap="flat" cmpd="sng" algn="ctr">
                      <a:solidFill>
                        <a:srgbClr val="CDCD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DCD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DCD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DCD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ECEC"/>
                    </a:solidFill>
                  </a:tcPr>
                </a:tc>
                <a:tc>
                  <a:txBody>
                    <a:bodyPr/>
                    <a:lstStyle/>
                    <a:p>
                      <a:pPr fontAlgn="b"/>
                      <a:r>
                        <a:rPr lang="ru-RU" b="1" dirty="0" smtClean="0">
                          <a:solidFill>
                            <a:srgbClr val="111827"/>
                          </a:solidFill>
                          <a:effectLst/>
                        </a:rPr>
                        <a:t>Гуманоид</a:t>
                      </a:r>
                      <a:endParaRPr lang="en-US" b="1" dirty="0">
                        <a:solidFill>
                          <a:srgbClr val="111827"/>
                        </a:solidFill>
                        <a:effectLst/>
                      </a:endParaRPr>
                    </a:p>
                  </a:txBody>
                  <a:tcPr anchor="b">
                    <a:lnL w="9525" cap="flat" cmpd="sng" algn="ctr">
                      <a:solidFill>
                        <a:srgbClr val="CDCD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1D5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DCD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DCD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fontAlgn="b"/>
                      <a:r>
                        <a:rPr lang="ru-RU" b="1">
                          <a:solidFill>
                            <a:srgbClr val="111827"/>
                          </a:solidFill>
                          <a:effectLst/>
                        </a:rPr>
                        <a:t>🏭 Промробот</a:t>
                      </a:r>
                    </a:p>
                  </a:txBody>
                  <a:tcPr anchor="b">
                    <a:lnL w="9525" cap="flat" cmpd="sng" algn="ctr">
                      <a:solidFill>
                        <a:srgbClr val="D1D5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1D5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1D5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DCD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EC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305930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fontAlgn="base"/>
                      <a:r>
                        <a:rPr lang="ru-RU" sz="1800" b="1" dirty="0">
                          <a:solidFill>
                            <a:srgbClr val="111827"/>
                          </a:solidFill>
                          <a:effectLst/>
                        </a:rPr>
                        <a:t>Стоимость решения</a:t>
                      </a:r>
                      <a:endParaRPr lang="ru-RU" sz="1800" dirty="0">
                        <a:effectLst/>
                      </a:endParaRPr>
                    </a:p>
                  </a:txBody>
                  <a:tcPr anchor="ctr">
                    <a:lnL w="9525" cap="flat" cmpd="sng" algn="ctr">
                      <a:solidFill>
                        <a:srgbClr val="CDCD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DCD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DCD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DCD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ru-RU" dirty="0">
                          <a:effectLst/>
                        </a:rPr>
                        <a:t>—</a:t>
                      </a:r>
                    </a:p>
                  </a:txBody>
                  <a:tcPr anchor="ctr">
                    <a:lnL w="9525" cap="flat" cmpd="sng" algn="ctr">
                      <a:solidFill>
                        <a:srgbClr val="CDCD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DCD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DCD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DCD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ru-RU" dirty="0">
                          <a:effectLst/>
                        </a:rPr>
                        <a:t>★</a:t>
                      </a:r>
                    </a:p>
                  </a:txBody>
                  <a:tcPr anchor="ctr">
                    <a:lnL w="9525" cap="flat" cmpd="sng" algn="ctr">
                      <a:solidFill>
                        <a:srgbClr val="CDCD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DCD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DCD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DCD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ru-RU">
                          <a:effectLst/>
                        </a:rPr>
                        <a:t>★★★★★</a:t>
                      </a:r>
                    </a:p>
                  </a:txBody>
                  <a:tcPr anchor="ctr">
                    <a:lnL w="9525" cap="flat" cmpd="sng" algn="ctr">
                      <a:solidFill>
                        <a:srgbClr val="CDCD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DCD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DCD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DCD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6503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fontAlgn="base"/>
                      <a:r>
                        <a:rPr lang="en-US" sz="1800" b="1">
                          <a:solidFill>
                            <a:srgbClr val="111827"/>
                          </a:solidFill>
                          <a:effectLst/>
                        </a:rPr>
                        <a:t>TCO</a:t>
                      </a:r>
                      <a:endParaRPr lang="en-US" sz="1800">
                        <a:effectLst/>
                      </a:endParaRPr>
                    </a:p>
                  </a:txBody>
                  <a:tcPr anchor="ctr">
                    <a:lnL w="9525" cap="flat" cmpd="sng" algn="ctr">
                      <a:solidFill>
                        <a:srgbClr val="CDCD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DCD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DCD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DCD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ru-RU" dirty="0">
                          <a:effectLst/>
                        </a:rPr>
                        <a:t>★★ / год</a:t>
                      </a:r>
                    </a:p>
                  </a:txBody>
                  <a:tcPr anchor="ctr">
                    <a:lnL w="9525" cap="flat" cmpd="sng" algn="ctr">
                      <a:solidFill>
                        <a:srgbClr val="CDCD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DCD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DCD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DCD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ru-RU" dirty="0">
                          <a:effectLst/>
                        </a:rPr>
                        <a:t>★★</a:t>
                      </a:r>
                    </a:p>
                  </a:txBody>
                  <a:tcPr anchor="ctr">
                    <a:lnL w="9525" cap="flat" cmpd="sng" algn="ctr">
                      <a:solidFill>
                        <a:srgbClr val="CDCD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DCD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DCD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DCD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ru-RU">
                          <a:effectLst/>
                        </a:rPr>
                        <a:t>★★★★★★★</a:t>
                      </a:r>
                    </a:p>
                  </a:txBody>
                  <a:tcPr anchor="ctr">
                    <a:lnL w="9525" cap="flat" cmpd="sng" algn="ctr">
                      <a:solidFill>
                        <a:srgbClr val="CDCD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DCD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DCD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DCD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7913133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fontAlgn="base"/>
                      <a:r>
                        <a:rPr lang="ru-RU" sz="1800" b="1" dirty="0">
                          <a:solidFill>
                            <a:srgbClr val="111827"/>
                          </a:solidFill>
                          <a:effectLst/>
                        </a:rPr>
                        <a:t>Окупаемость</a:t>
                      </a:r>
                      <a:endParaRPr lang="ru-RU" sz="1800" dirty="0">
                        <a:effectLst/>
                      </a:endParaRPr>
                    </a:p>
                  </a:txBody>
                  <a:tcPr anchor="ctr">
                    <a:lnL w="9525" cap="flat" cmpd="sng" algn="ctr">
                      <a:solidFill>
                        <a:srgbClr val="CDCD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DCD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DCD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DCD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ru-RU" dirty="0">
                          <a:effectLst/>
                        </a:rPr>
                        <a:t>—</a:t>
                      </a:r>
                    </a:p>
                  </a:txBody>
                  <a:tcPr anchor="ctr">
                    <a:lnL w="9525" cap="flat" cmpd="sng" algn="ctr">
                      <a:solidFill>
                        <a:srgbClr val="CDCD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DCD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DCD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DCD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ru-RU" dirty="0">
                          <a:effectLst/>
                        </a:rPr>
                        <a:t>1,5–2 года</a:t>
                      </a:r>
                    </a:p>
                  </a:txBody>
                  <a:tcPr anchor="ctr">
                    <a:lnL w="9525" cap="flat" cmpd="sng" algn="ctr">
                      <a:solidFill>
                        <a:srgbClr val="CDCD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DCD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DCD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DCD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ru-RU">
                          <a:effectLst/>
                        </a:rPr>
                        <a:t>5+ лет</a:t>
                      </a:r>
                    </a:p>
                  </a:txBody>
                  <a:tcPr anchor="ctr">
                    <a:lnL w="9525" cap="flat" cmpd="sng" algn="ctr">
                      <a:solidFill>
                        <a:srgbClr val="CDCD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DCD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DCD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DCD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48015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fontAlgn="base"/>
                      <a:r>
                        <a:rPr lang="en-US" sz="1800" b="1" dirty="0">
                          <a:solidFill>
                            <a:srgbClr val="111827"/>
                          </a:solidFill>
                          <a:effectLst/>
                        </a:rPr>
                        <a:t>IRR</a:t>
                      </a:r>
                      <a:endParaRPr lang="en-US" sz="1800" dirty="0">
                        <a:effectLst/>
                      </a:endParaRPr>
                    </a:p>
                  </a:txBody>
                  <a:tcPr anchor="ctr">
                    <a:lnL w="9525" cap="flat" cmpd="sng" algn="ctr">
                      <a:solidFill>
                        <a:srgbClr val="CDCD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DCD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DCD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DCD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ru-RU" dirty="0">
                          <a:effectLst/>
                        </a:rPr>
                        <a:t>—</a:t>
                      </a:r>
                    </a:p>
                  </a:txBody>
                  <a:tcPr anchor="ctr">
                    <a:lnL w="9525" cap="flat" cmpd="sng" algn="ctr">
                      <a:solidFill>
                        <a:srgbClr val="CDCD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DCD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DCD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DCD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ru-RU" b="1" dirty="0">
                          <a:solidFill>
                            <a:srgbClr val="111827"/>
                          </a:solidFill>
                          <a:effectLst/>
                        </a:rPr>
                        <a:t>50–70%</a:t>
                      </a:r>
                      <a:endParaRPr lang="ru-RU" dirty="0">
                        <a:effectLst/>
                      </a:endParaRPr>
                    </a:p>
                  </a:txBody>
                  <a:tcPr anchor="ctr">
                    <a:lnL w="9525" cap="flat" cmpd="sng" algn="ctr">
                      <a:solidFill>
                        <a:srgbClr val="CDCD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DCD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DCD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DCD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ru-RU">
                          <a:effectLst/>
                        </a:rPr>
                        <a:t>17–23% ❌</a:t>
                      </a:r>
                    </a:p>
                  </a:txBody>
                  <a:tcPr anchor="ctr">
                    <a:lnL w="9525" cap="flat" cmpd="sng" algn="ctr">
                      <a:solidFill>
                        <a:srgbClr val="CDCD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DCD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DCD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DCD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9687356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fontAlgn="base"/>
                      <a:r>
                        <a:rPr lang="ru-RU" sz="1800" b="1" dirty="0">
                          <a:solidFill>
                            <a:srgbClr val="111827"/>
                          </a:solidFill>
                          <a:effectLst/>
                        </a:rPr>
                        <a:t>Работает 24/7</a:t>
                      </a:r>
                      <a:endParaRPr lang="ru-RU" sz="1800" dirty="0">
                        <a:effectLst/>
                      </a:endParaRPr>
                    </a:p>
                  </a:txBody>
                  <a:tcPr anchor="ctr">
                    <a:lnL w="9525" cap="flat" cmpd="sng" algn="ctr">
                      <a:solidFill>
                        <a:srgbClr val="CDCD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DCD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DCD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DCD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ru-RU" dirty="0">
                          <a:effectLst/>
                        </a:rPr>
                        <a:t>Нет</a:t>
                      </a:r>
                    </a:p>
                  </a:txBody>
                  <a:tcPr anchor="ctr">
                    <a:lnL w="9525" cap="flat" cmpd="sng" algn="ctr">
                      <a:solidFill>
                        <a:srgbClr val="CDCD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DCD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DCD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DCD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ru-RU" dirty="0">
                          <a:effectLst/>
                        </a:rPr>
                        <a:t>Да</a:t>
                      </a:r>
                    </a:p>
                  </a:txBody>
                  <a:tcPr anchor="ctr">
                    <a:lnL w="9525" cap="flat" cmpd="sng" algn="ctr">
                      <a:solidFill>
                        <a:srgbClr val="CDCD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DCD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DCD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DCD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ru-RU">
                          <a:effectLst/>
                        </a:rPr>
                        <a:t>Да</a:t>
                      </a:r>
                    </a:p>
                  </a:txBody>
                  <a:tcPr anchor="ctr">
                    <a:lnL w="9525" cap="flat" cmpd="sng" algn="ctr">
                      <a:solidFill>
                        <a:srgbClr val="CDCD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DCD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DCD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DCD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2110717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fontAlgn="base"/>
                      <a:r>
                        <a:rPr lang="ru-RU" sz="1800" b="1" dirty="0">
                          <a:solidFill>
                            <a:srgbClr val="111827"/>
                          </a:solidFill>
                          <a:effectLst/>
                        </a:rPr>
                        <a:t>Гибкость</a:t>
                      </a:r>
                      <a:endParaRPr lang="ru-RU" sz="1800" dirty="0">
                        <a:effectLst/>
                      </a:endParaRPr>
                    </a:p>
                  </a:txBody>
                  <a:tcPr anchor="ctr">
                    <a:lnL w="9525" cap="flat" cmpd="sng" algn="ctr">
                      <a:solidFill>
                        <a:srgbClr val="CDCD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DCD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DCD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DCD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ru-RU" dirty="0">
                          <a:effectLst/>
                        </a:rPr>
                        <a:t>Высокая</a:t>
                      </a:r>
                    </a:p>
                  </a:txBody>
                  <a:tcPr anchor="ctr">
                    <a:lnL w="9525" cap="flat" cmpd="sng" algn="ctr">
                      <a:solidFill>
                        <a:srgbClr val="CDCD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DCD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DCD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DCD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ru-RU" dirty="0">
                          <a:effectLst/>
                        </a:rPr>
                        <a:t>Высокая</a:t>
                      </a:r>
                    </a:p>
                  </a:txBody>
                  <a:tcPr anchor="ctr">
                    <a:lnL w="9525" cap="flat" cmpd="sng" algn="ctr">
                      <a:solidFill>
                        <a:srgbClr val="CDCD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DCD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DCD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DCD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ru-RU" dirty="0">
                          <a:effectLst/>
                        </a:rPr>
                        <a:t>Низкая</a:t>
                      </a:r>
                    </a:p>
                  </a:txBody>
                  <a:tcPr anchor="ctr">
                    <a:lnL w="9525" cap="flat" cmpd="sng" algn="ctr">
                      <a:solidFill>
                        <a:srgbClr val="CDCD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DCD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DCD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DCD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4904742"/>
                  </a:ext>
                </a:extLst>
              </a:tr>
            </a:tbl>
          </a:graphicData>
        </a:graphic>
      </p:graphicFrame>
      <p:sp>
        <p:nvSpPr>
          <p:cNvPr id="13" name="Прямоугольник 12"/>
          <p:cNvSpPr/>
          <p:nvPr/>
        </p:nvSpPr>
        <p:spPr bwMode="auto">
          <a:xfrm>
            <a:off x="6259196" y="1242306"/>
            <a:ext cx="6096000" cy="1569660"/>
          </a:xfrm>
          <a:prstGeom prst="rect">
            <a:avLst/>
          </a:prstGeom>
        </p:spPr>
        <p:txBody>
          <a:bodyPr>
            <a:spAutoFit/>
          </a:bodyPr>
          <a:lstStyle/>
          <a:p>
            <a:pPr marL="342900" indent="-3429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dirty="0">
                <a:solidFill>
                  <a:srgbClr val="111827"/>
                </a:solidFill>
                <a:latin typeface="MTS Text" panose="020B0306020102020303" pitchFamily="34" charset="0"/>
                <a:ea typeface="MTS Text" panose="020B0306020102020303" pitchFamily="34" charset="0"/>
              </a:rPr>
              <a:t>Оператор — окупается, но не масштабируется, болеет, увольняется. </a:t>
            </a:r>
            <a:endParaRPr lang="en-US" dirty="0" smtClean="0">
              <a:solidFill>
                <a:srgbClr val="111827"/>
              </a:solidFill>
              <a:latin typeface="MTS Text" panose="020B0306020102020303" pitchFamily="34" charset="0"/>
              <a:ea typeface="MTS Text" panose="020B0306020102020303" pitchFamily="34" charset="0"/>
            </a:endParaRPr>
          </a:p>
          <a:p>
            <a:pPr marL="342900" indent="-3429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dirty="0" err="1" smtClean="0">
                <a:solidFill>
                  <a:srgbClr val="111827"/>
                </a:solidFill>
                <a:latin typeface="MTS Text" panose="020B0306020102020303" pitchFamily="34" charset="0"/>
                <a:ea typeface="MTS Text" panose="020B0306020102020303" pitchFamily="34" charset="0"/>
              </a:rPr>
              <a:t>Промробот</a:t>
            </a:r>
            <a:r>
              <a:rPr lang="ru-RU" dirty="0" smtClean="0">
                <a:solidFill>
                  <a:srgbClr val="111827"/>
                </a:solidFill>
                <a:latin typeface="MTS Text" panose="020B0306020102020303" pitchFamily="34" charset="0"/>
                <a:ea typeface="MTS Text" panose="020B0306020102020303" pitchFamily="34" charset="0"/>
              </a:rPr>
              <a:t> </a:t>
            </a:r>
            <a:r>
              <a:rPr lang="ru-RU" dirty="0">
                <a:solidFill>
                  <a:srgbClr val="111827"/>
                </a:solidFill>
                <a:latin typeface="MTS Text" panose="020B0306020102020303" pitchFamily="34" charset="0"/>
                <a:ea typeface="MTS Text" panose="020B0306020102020303" pitchFamily="34" charset="0"/>
              </a:rPr>
              <a:t>— не окупается. IRR ниже </a:t>
            </a:r>
            <a:r>
              <a:rPr lang="ru-RU" dirty="0" smtClean="0">
                <a:solidFill>
                  <a:srgbClr val="111827"/>
                </a:solidFill>
                <a:latin typeface="MTS Text" panose="020B0306020102020303" pitchFamily="34" charset="0"/>
                <a:ea typeface="MTS Text" panose="020B0306020102020303" pitchFamily="34" charset="0"/>
              </a:rPr>
              <a:t>порога.</a:t>
            </a:r>
            <a:endParaRPr lang="en-US" dirty="0" smtClean="0">
              <a:solidFill>
                <a:srgbClr val="111827"/>
              </a:solidFill>
              <a:latin typeface="MTS Text" panose="020B0306020102020303" pitchFamily="34" charset="0"/>
              <a:ea typeface="MTS Text" panose="020B0306020102020303" pitchFamily="34" charset="0"/>
            </a:endParaRPr>
          </a:p>
          <a:p>
            <a:pPr marL="342900" indent="-3429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dirty="0" smtClean="0">
                <a:solidFill>
                  <a:srgbClr val="111827"/>
                </a:solidFill>
                <a:latin typeface="MTS Text" panose="020B0306020102020303" pitchFamily="34" charset="0"/>
                <a:ea typeface="MTS Text" panose="020B0306020102020303" pitchFamily="34" charset="0"/>
              </a:rPr>
              <a:t>Гуманоид </a:t>
            </a:r>
            <a:r>
              <a:rPr lang="ru-RU" dirty="0">
                <a:solidFill>
                  <a:srgbClr val="111827"/>
                </a:solidFill>
                <a:latin typeface="MTS Text" panose="020B0306020102020303" pitchFamily="34" charset="0"/>
                <a:ea typeface="MTS Text" panose="020B0306020102020303" pitchFamily="34" charset="0"/>
              </a:rPr>
              <a:t>— экономика сходится уже сегодня.</a:t>
            </a:r>
            <a:endParaRPr lang="ru-RU" dirty="0">
              <a:latin typeface="MTS Text" panose="020B0306020102020303" pitchFamily="34" charset="0"/>
              <a:ea typeface="MTS Text" panose="020B03060201020203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3464134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252345059" name="Slide Number Placeholder 2"/>
          <p:cNvSpPr>
            <a:spLocks noGrp="1"/>
          </p:cNvSpPr>
          <p:nvPr>
            <p:ph type="sldNum" sz="quarter" idx="4"/>
          </p:nvPr>
        </p:nvSpPr>
        <p:spPr bwMode="auto">
          <a:xfrm>
            <a:off x="11478355" y="6504739"/>
            <a:ext cx="515937" cy="181885"/>
          </a:xfrm>
          <a:prstGeom prst="rect">
            <a:avLst/>
          </a:prstGeom>
        </p:spPr>
        <p:txBody>
          <a:bodyPr/>
          <a:lstStyle>
            <a:lvl1pPr algn="r">
              <a:defRPr sz="900" b="0" i="0">
                <a:solidFill>
                  <a:schemeClr val="bg1">
                    <a:lumMod val="75000"/>
                  </a:schemeClr>
                </a:solidFill>
                <a:latin typeface="MTS Wide"/>
                <a:ea typeface="MTS Wide"/>
                <a:cs typeface="+mn-cs"/>
              </a:defRPr>
            </a:lvl1pPr>
          </a:lstStyle>
          <a:p>
            <a:pPr defTabSz="430123">
              <a:defRPr/>
            </a:pPr>
            <a:fld id="{EF8850B7-9592-91E1-FCF1-F739AC822C5A}" type="slidenum">
              <a:rPr lang="ru-RU"/>
              <a:t>12</a:t>
            </a:fld>
            <a:endParaRPr lang="ru-RU"/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6858000" cy="6858000"/>
          </a:xfrm>
          <a:prstGeom prst="rect">
            <a:avLst/>
          </a:prstGeom>
        </p:spPr>
      </p:pic>
      <p:sp>
        <p:nvSpPr>
          <p:cNvPr id="8" name="Text Placeholder 14"/>
          <p:cNvSpPr>
            <a:spLocks noGrp="1"/>
          </p:cNvSpPr>
          <p:nvPr>
            <p:ph type="body" sz="quarter" idx="27" hasCustomPrompt="1"/>
          </p:nvPr>
        </p:nvSpPr>
        <p:spPr bwMode="auto">
          <a:xfrm>
            <a:off x="6858000" y="1281892"/>
            <a:ext cx="5136292" cy="4753145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10000"/>
              </a:lnSpc>
              <a:spcBef>
                <a:spcPts val="0"/>
              </a:spcBef>
              <a:spcAft>
                <a:spcPts val="900"/>
              </a:spcAft>
              <a:buFontTx/>
              <a:buNone/>
              <a:defRPr sz="1800" b="0" i="0" spc="0">
                <a:latin typeface="MTS Text"/>
                <a:ea typeface="MTS Text"/>
              </a:defRPr>
            </a:lvl1pPr>
            <a:lvl2pPr marL="483751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01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53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04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marL="457200" indent="-228600">
              <a:buChar char="•"/>
              <a:defRPr/>
            </a:pPr>
            <a:r>
              <a:rPr sz="2400" dirty="0" err="1" smtClean="0"/>
              <a:t>Компании</a:t>
            </a:r>
            <a:r>
              <a:rPr sz="2400" dirty="0"/>
              <a:t>, </a:t>
            </a:r>
            <a:r>
              <a:rPr sz="2400" dirty="0" err="1"/>
              <a:t>строящие</a:t>
            </a:r>
            <a:r>
              <a:rPr sz="2400" dirty="0"/>
              <a:t> </a:t>
            </a:r>
            <a:r>
              <a:rPr sz="2400" dirty="0" err="1"/>
              <a:t>инфраструктуру</a:t>
            </a:r>
            <a:r>
              <a:rPr sz="2400" dirty="0"/>
              <a:t> </a:t>
            </a:r>
            <a:r>
              <a:rPr sz="2400" dirty="0" err="1"/>
              <a:t>сейчас</a:t>
            </a:r>
            <a:r>
              <a:rPr sz="2400" dirty="0"/>
              <a:t>, </a:t>
            </a:r>
            <a:r>
              <a:rPr sz="2400" dirty="0" err="1"/>
              <a:t>получают</a:t>
            </a:r>
            <a:r>
              <a:rPr sz="2400" dirty="0"/>
              <a:t> </a:t>
            </a:r>
            <a:r>
              <a:rPr sz="2400" dirty="0" err="1"/>
              <a:t>конкурентное</a:t>
            </a:r>
            <a:r>
              <a:rPr sz="2400" dirty="0"/>
              <a:t> </a:t>
            </a:r>
            <a:r>
              <a:rPr sz="2400" dirty="0" err="1"/>
              <a:t>преимущество</a:t>
            </a:r>
            <a:r>
              <a:rPr sz="2400" dirty="0"/>
              <a:t> </a:t>
            </a:r>
            <a:endParaRPr lang="ru-RU" sz="2400" dirty="0" smtClean="0"/>
          </a:p>
          <a:p>
            <a:pPr marL="457200" indent="-228600">
              <a:buChar char="•"/>
              <a:defRPr/>
            </a:pPr>
            <a:r>
              <a:rPr sz="2400" dirty="0" err="1" smtClean="0"/>
              <a:t>Разрыв</a:t>
            </a:r>
            <a:r>
              <a:rPr sz="2400" dirty="0" smtClean="0"/>
              <a:t> </a:t>
            </a:r>
            <a:r>
              <a:rPr sz="2400" dirty="0" err="1"/>
              <a:t>между</a:t>
            </a:r>
            <a:r>
              <a:rPr sz="2400" dirty="0"/>
              <a:t> </a:t>
            </a:r>
            <a:r>
              <a:rPr sz="2400" dirty="0" err="1"/>
              <a:t>лидерами</a:t>
            </a:r>
            <a:r>
              <a:rPr sz="2400" dirty="0"/>
              <a:t> и </a:t>
            </a:r>
            <a:r>
              <a:rPr sz="2400" dirty="0" err="1"/>
              <a:t>отстающими</a:t>
            </a:r>
            <a:r>
              <a:rPr sz="2400" dirty="0"/>
              <a:t> </a:t>
            </a:r>
            <a:r>
              <a:rPr sz="2400" dirty="0" err="1"/>
              <a:t>растет</a:t>
            </a:r>
            <a:r>
              <a:rPr sz="2400" dirty="0"/>
              <a:t> </a:t>
            </a:r>
            <a:r>
              <a:rPr sz="2400" dirty="0" err="1"/>
              <a:t>экспоненциально</a:t>
            </a:r>
            <a:r>
              <a:rPr sz="2400" dirty="0"/>
              <a:t> с </a:t>
            </a:r>
            <a:r>
              <a:rPr sz="2400" dirty="0" err="1"/>
              <a:t>каждым</a:t>
            </a:r>
            <a:r>
              <a:rPr sz="2400" dirty="0"/>
              <a:t> </a:t>
            </a:r>
            <a:r>
              <a:rPr sz="2400" dirty="0" err="1"/>
              <a:t>годом</a:t>
            </a:r>
            <a:r>
              <a:rPr sz="2400" dirty="0"/>
              <a:t> </a:t>
            </a:r>
            <a:r>
              <a:rPr sz="2400" dirty="0" err="1" smtClean="0"/>
              <a:t>бездействия</a:t>
            </a:r>
            <a:r>
              <a:rPr lang="en-US" sz="2400" dirty="0"/>
              <a:t> </a:t>
            </a:r>
            <a:endParaRPr lang="ru-RU" sz="2400" dirty="0" smtClean="0"/>
          </a:p>
          <a:p>
            <a:pPr marL="457200" indent="-228600">
              <a:buChar char="•"/>
              <a:defRPr/>
            </a:pPr>
            <a:r>
              <a:rPr lang="ru-RU" sz="2400" dirty="0" smtClean="0"/>
              <a:t>70% проблем при внедрении – люди и процессы, так что выдыхаем</a:t>
            </a:r>
            <a:r>
              <a:rPr lang="ru-RU" sz="2400" dirty="0" smtClean="0">
                <a:sym typeface="Wingdings" panose="05000000000000000000" pitchFamily="2" charset="2"/>
              </a:rPr>
              <a:t></a:t>
            </a:r>
            <a:endParaRPr sz="2400" dirty="0"/>
          </a:p>
        </p:txBody>
      </p:sp>
    </p:spTree>
    <p:extLst>
      <p:ext uri="{BB962C8B-B14F-4D97-AF65-F5344CB8AC3E}">
        <p14:creationId xmlns:p14="http://schemas.microsoft.com/office/powerpoint/2010/main" val="339844576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/>
    </mc:Choice>
    <mc:Fallback xmlns="" xmlns:m="http://schemas.openxmlformats.org/officeDocument/2006/math" xmlns:w="http://schemas.openxmlformats.org/wordprocessingml/2006/main">
      <p:transition advClick="1"/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314859735" name="Text Placeholder 14"/>
          <p:cNvSpPr>
            <a:spLocks noGrp="1"/>
          </p:cNvSpPr>
          <p:nvPr>
            <p:ph type="body" sz="quarter" idx="27" hasCustomPrompt="1"/>
          </p:nvPr>
        </p:nvSpPr>
        <p:spPr bwMode="auto">
          <a:xfrm>
            <a:off x="4815840" y="1832893"/>
            <a:ext cx="6736080" cy="4789489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10000"/>
              </a:lnSpc>
              <a:spcBef>
                <a:spcPts val="0"/>
              </a:spcBef>
              <a:spcAft>
                <a:spcPts val="900"/>
              </a:spcAft>
              <a:buFontTx/>
              <a:buNone/>
              <a:defRPr sz="1800" b="0" i="0" spc="0">
                <a:latin typeface="MTS Text"/>
                <a:ea typeface="MTS Text"/>
              </a:defRPr>
            </a:lvl1pPr>
            <a:lvl2pPr marL="483751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01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53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04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marL="571500" indent="-342900">
              <a:buAutoNum type="arabicPeriod"/>
              <a:defRPr/>
            </a:pPr>
            <a:r>
              <a:rPr lang="ru-RU" dirty="0" smtClean="0"/>
              <a:t>Инфраструктура </a:t>
            </a:r>
            <a:r>
              <a:rPr lang="ru-RU" dirty="0"/>
              <a:t>— 2,3 млн 5G-станций (60% мировых), покрытие всех промышленных </a:t>
            </a:r>
            <a:r>
              <a:rPr lang="ru-RU" dirty="0" smtClean="0"/>
              <a:t>зон, несколько десятков тысяч (более 30 тыс.) частных </a:t>
            </a:r>
            <a:r>
              <a:rPr lang="en-US" dirty="0" smtClean="0"/>
              <a:t>5G </a:t>
            </a:r>
            <a:r>
              <a:rPr lang="ru-RU" dirty="0" smtClean="0"/>
              <a:t>сетей</a:t>
            </a:r>
          </a:p>
          <a:p>
            <a:pPr marL="571500" indent="-342900">
              <a:buFontTx/>
              <a:buAutoNum type="arabicPeriod"/>
              <a:defRPr/>
            </a:pPr>
            <a:r>
              <a:rPr lang="ru-RU" dirty="0" smtClean="0"/>
              <a:t>Масштабная индустриализация ~30</a:t>
            </a:r>
            <a:r>
              <a:rPr lang="ru-RU" dirty="0"/>
              <a:t>% всей мировой промышленной </a:t>
            </a:r>
            <a:r>
              <a:rPr lang="ru-RU" dirty="0" smtClean="0"/>
              <a:t>продукции  </a:t>
            </a:r>
            <a:r>
              <a:rPr lang="ru-RU" dirty="0"/>
              <a:t>— больше, чем США, Германия и Япония вместе взятые. </a:t>
            </a:r>
            <a:endParaRPr lang="ru-RU" dirty="0" smtClean="0"/>
          </a:p>
          <a:p>
            <a:pPr marL="571500" indent="-342900">
              <a:buFontTx/>
              <a:buAutoNum type="arabicPeriod"/>
              <a:defRPr/>
            </a:pPr>
            <a:r>
              <a:rPr lang="ru-RU" dirty="0" smtClean="0"/>
              <a:t>Масштаб данных </a:t>
            </a:r>
            <a:r>
              <a:rPr lang="ru-RU" dirty="0"/>
              <a:t>— 1,4 млрд потребителей </a:t>
            </a:r>
            <a:r>
              <a:rPr lang="ru-RU" dirty="0" smtClean="0"/>
              <a:t>и 10 млн производств генерируют </a:t>
            </a:r>
            <a:r>
              <a:rPr lang="ru-RU" dirty="0"/>
              <a:t>беспрецедентный объём данных для обучения </a:t>
            </a:r>
            <a:r>
              <a:rPr lang="ru-RU" dirty="0" smtClean="0"/>
              <a:t>AI</a:t>
            </a:r>
          </a:p>
          <a:p>
            <a:pPr marL="571500" indent="-342900">
              <a:buFontTx/>
              <a:buAutoNum type="arabicPeriod"/>
              <a:defRPr/>
            </a:pPr>
            <a:r>
              <a:rPr lang="ru-RU" dirty="0" smtClean="0"/>
              <a:t>Скорость внедрения </a:t>
            </a:r>
            <a:r>
              <a:rPr lang="ru-RU" dirty="0"/>
              <a:t>— от пилота до масштабирования за 12–18 месяцев (в Европе и США — 3–5 лет)</a:t>
            </a:r>
          </a:p>
        </p:txBody>
      </p:sp>
      <p:sp>
        <p:nvSpPr>
          <p:cNvPr id="1252345059" name="Slide Number Placeholder 2"/>
          <p:cNvSpPr>
            <a:spLocks noGrp="1"/>
          </p:cNvSpPr>
          <p:nvPr>
            <p:ph type="sldNum" sz="quarter" idx="4"/>
          </p:nvPr>
        </p:nvSpPr>
        <p:spPr bwMode="auto">
          <a:xfrm>
            <a:off x="11478355" y="6504739"/>
            <a:ext cx="515937" cy="181885"/>
          </a:xfrm>
          <a:prstGeom prst="rect">
            <a:avLst/>
          </a:prstGeom>
        </p:spPr>
        <p:txBody>
          <a:bodyPr/>
          <a:lstStyle>
            <a:lvl1pPr algn="r">
              <a:defRPr sz="900" b="0" i="0">
                <a:solidFill>
                  <a:schemeClr val="bg1">
                    <a:lumMod val="75000"/>
                  </a:schemeClr>
                </a:solidFill>
                <a:latin typeface="MTS Wide"/>
                <a:ea typeface="MTS Wide"/>
                <a:cs typeface="+mn-cs"/>
              </a:defRPr>
            </a:lvl1pPr>
          </a:lstStyle>
          <a:p>
            <a:pPr defTabSz="430123">
              <a:defRPr/>
            </a:pPr>
            <a:fld id="{EF8850B7-9592-91E1-FCF1-F739AC822C5A}" type="slidenum">
              <a:rPr lang="ru-RU"/>
              <a:t>13</a:t>
            </a:fld>
            <a:endParaRPr lang="ru-RU"/>
          </a:p>
        </p:txBody>
      </p:sp>
      <p:sp>
        <p:nvSpPr>
          <p:cNvPr id="1786879441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515938" y="237170"/>
            <a:ext cx="10685463" cy="477172"/>
          </a:xfrm>
        </p:spPr>
        <p:txBody>
          <a:bodyPr/>
          <a:lstStyle>
            <a:lvl1pPr>
              <a:defRPr sz="3200"/>
            </a:lvl1pPr>
          </a:lstStyle>
          <a:p>
            <a:pPr>
              <a:defRPr/>
            </a:pPr>
            <a:r>
              <a:rPr sz="2800" dirty="0" smtClean="0"/>
              <a:t>КИТАЙ </a:t>
            </a:r>
            <a:r>
              <a:rPr lang="ru-RU" sz="2800" dirty="0" smtClean="0"/>
              <a:t>–</a:t>
            </a:r>
            <a:r>
              <a:rPr sz="2800" dirty="0" smtClean="0"/>
              <a:t> единственная страна, где связка </a:t>
            </a:r>
            <a:r>
              <a:rPr lang="en-US" sz="2800" dirty="0" smtClean="0"/>
              <a:t>5G/AI/Robotics </a:t>
            </a:r>
            <a:r>
              <a:rPr lang="ru-RU" sz="2800" dirty="0" smtClean="0"/>
              <a:t>в масштабе целых отраслей</a:t>
            </a:r>
            <a:endParaRPr sz="2800" dirty="0"/>
          </a:p>
        </p:txBody>
      </p:sp>
      <p:pic>
        <p:nvPicPr>
          <p:cNvPr id="16386" name="Picture 2" descr="Picture background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5004" y="1832892"/>
            <a:ext cx="4692318" cy="36636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9937479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/>
    </mc:Choice>
    <mc:Fallback xmlns:w="http://schemas.openxmlformats.org/wordprocessingml/2006/main" xmlns:m="http://schemas.openxmlformats.org/officeDocument/2006/math" xmlns="">
      <p:transition advClick="1"/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252345059" name="Slide Number Placeholder 2"/>
          <p:cNvSpPr>
            <a:spLocks noGrp="1"/>
          </p:cNvSpPr>
          <p:nvPr>
            <p:ph type="sldNum" sz="quarter" idx="4"/>
          </p:nvPr>
        </p:nvSpPr>
        <p:spPr bwMode="auto">
          <a:xfrm>
            <a:off x="11478355" y="6017059"/>
            <a:ext cx="515937" cy="181885"/>
          </a:xfrm>
          <a:prstGeom prst="rect">
            <a:avLst/>
          </a:prstGeom>
        </p:spPr>
        <p:txBody>
          <a:bodyPr/>
          <a:lstStyle>
            <a:lvl1pPr algn="r">
              <a:defRPr sz="900" b="0" i="0">
                <a:solidFill>
                  <a:schemeClr val="bg1">
                    <a:lumMod val="75000"/>
                  </a:schemeClr>
                </a:solidFill>
                <a:latin typeface="MTS Wide"/>
                <a:ea typeface="MTS Wide"/>
                <a:cs typeface="+mn-cs"/>
              </a:defRPr>
            </a:lvl1pPr>
          </a:lstStyle>
          <a:p>
            <a:pPr defTabSz="430123">
              <a:defRPr/>
            </a:pPr>
            <a:fld id="{EF8850B7-9592-91E1-FCF1-F739AC822C5A}" type="slidenum">
              <a:rPr lang="ru-RU"/>
              <a:t>14</a:t>
            </a:fld>
            <a:endParaRPr lang="ru-RU"/>
          </a:p>
        </p:txBody>
      </p:sp>
      <p:sp>
        <p:nvSpPr>
          <p:cNvPr id="1786879441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515938" y="237170"/>
            <a:ext cx="10685463" cy="477172"/>
          </a:xfrm>
        </p:spPr>
        <p:txBody>
          <a:bodyPr/>
          <a:lstStyle>
            <a:lvl1pPr>
              <a:defRPr sz="3200"/>
            </a:lvl1pPr>
          </a:lstStyle>
          <a:p>
            <a:pPr>
              <a:defRPr/>
            </a:pPr>
            <a:r>
              <a:rPr lang="ru-RU" sz="2800" dirty="0" smtClean="0"/>
              <a:t>ЧЕСТНАЯ </a:t>
            </a:r>
            <a:r>
              <a:rPr sz="2800" dirty="0" smtClean="0"/>
              <a:t>РЕКОМЕНДАЦИЯ: Что делать если нет ресурсов и доступа к технологиям</a:t>
            </a:r>
            <a:endParaRPr sz="2800" dirty="0"/>
          </a:p>
        </p:txBody>
      </p:sp>
      <p:pic>
        <p:nvPicPr>
          <p:cNvPr id="7" name="Rectangle 3" descr="preencoded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574484"/>
            <a:ext cx="3048000" cy="4600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Rectangle 4" descr="preencoded.pn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48000" y="1574484"/>
            <a:ext cx="3048000" cy="4600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Rectangle 5" descr="preencoded.png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96000" y="1574484"/>
            <a:ext cx="3048000" cy="4600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Rectangle 6" descr="preencoded.png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44000" y="1574484"/>
            <a:ext cx="3048000" cy="4600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Text 3"/>
          <p:cNvSpPr>
            <a:spLocks noChangeArrowheads="1"/>
          </p:cNvSpPr>
          <p:nvPr/>
        </p:nvSpPr>
        <p:spPr bwMode="auto">
          <a:xfrm>
            <a:off x="307237" y="1626269"/>
            <a:ext cx="2330008" cy="50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  <a:latin typeface="MTS Text"/>
              </a:defRPr>
            </a:lvl1pPr>
            <a:lvl2pPr marL="742950" indent="-285750">
              <a:defRPr>
                <a:solidFill>
                  <a:schemeClr val="tx1"/>
                </a:solidFill>
                <a:latin typeface="MTS Text"/>
              </a:defRPr>
            </a:lvl2pPr>
            <a:lvl3pPr marL="1143000" indent="-228600">
              <a:defRPr>
                <a:solidFill>
                  <a:schemeClr val="tx1"/>
                </a:solidFill>
                <a:latin typeface="MTS Text"/>
              </a:defRPr>
            </a:lvl3pPr>
            <a:lvl4pPr marL="1600200" indent="-228600">
              <a:defRPr>
                <a:solidFill>
                  <a:schemeClr val="tx1"/>
                </a:solidFill>
                <a:latin typeface="MTS Text"/>
              </a:defRPr>
            </a:lvl4pPr>
            <a:lvl5pPr marL="2057400" indent="-228600">
              <a:defRPr>
                <a:solidFill>
                  <a:schemeClr val="tx1"/>
                </a:solidFill>
                <a:latin typeface="MTS Text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MTS Text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MTS Text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MTS Text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MTS Text"/>
              </a:defRPr>
            </a:lvl9pPr>
          </a:lstStyle>
          <a:p>
            <a:pPr algn="ctr" defTabSz="609630" rtl="0">
              <a:lnSpc>
                <a:spcPct val="92000"/>
              </a:lnSpc>
            </a:pPr>
            <a:r>
              <a:rPr lang="ru-RU" altLang="en-US" sz="1800" kern="1200" dirty="0" smtClean="0">
                <a:solidFill>
                  <a:srgbClr val="000000"/>
                </a:solidFill>
                <a:latin typeface="MTS Text Medium" charset="0"/>
                <a:cs typeface="MTS Text Medium" charset="0"/>
              </a:rPr>
              <a:t>Выжмите максимум из текущей парадигмы</a:t>
            </a:r>
            <a:endParaRPr lang="ru-RU" altLang="en-US" sz="1800" kern="1200" dirty="0">
              <a:solidFill>
                <a:srgbClr val="000000"/>
              </a:solidFill>
              <a:latin typeface="MTS Text Medium" charset="0"/>
              <a:cs typeface="MTS Text Medium" charset="0"/>
            </a:endParaRPr>
          </a:p>
        </p:txBody>
      </p:sp>
      <p:sp>
        <p:nvSpPr>
          <p:cNvPr id="12" name="Text 4"/>
          <p:cNvSpPr>
            <a:spLocks noChangeArrowheads="1"/>
          </p:cNvSpPr>
          <p:nvPr/>
        </p:nvSpPr>
        <p:spPr bwMode="auto">
          <a:xfrm>
            <a:off x="285750" y="2875598"/>
            <a:ext cx="2592388" cy="984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228600" indent="-228600">
              <a:defRPr>
                <a:solidFill>
                  <a:schemeClr val="tx1"/>
                </a:solidFill>
                <a:latin typeface="MTS Text"/>
              </a:defRPr>
            </a:lvl1pPr>
            <a:lvl2pPr marL="742950" indent="-285750">
              <a:defRPr>
                <a:solidFill>
                  <a:schemeClr val="tx1"/>
                </a:solidFill>
                <a:latin typeface="MTS Text"/>
              </a:defRPr>
            </a:lvl2pPr>
            <a:lvl3pPr marL="1143000" indent="-228600">
              <a:defRPr>
                <a:solidFill>
                  <a:schemeClr val="tx1"/>
                </a:solidFill>
                <a:latin typeface="MTS Text"/>
              </a:defRPr>
            </a:lvl3pPr>
            <a:lvl4pPr marL="1600200" indent="-228600">
              <a:defRPr>
                <a:solidFill>
                  <a:schemeClr val="tx1"/>
                </a:solidFill>
                <a:latin typeface="MTS Text"/>
              </a:defRPr>
            </a:lvl4pPr>
            <a:lvl5pPr marL="2057400" indent="-228600">
              <a:defRPr>
                <a:solidFill>
                  <a:schemeClr val="tx1"/>
                </a:solidFill>
                <a:latin typeface="MTS Text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MTS Text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MTS Text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MTS Text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MTS Text"/>
              </a:defRPr>
            </a:lvl9pPr>
          </a:lstStyle>
          <a:p>
            <a:pPr marL="152408" indent="-152408" defTabSz="609630" rtl="0">
              <a:spcAft>
                <a:spcPts val="400"/>
              </a:spcAft>
              <a:buSzPct val="80000"/>
              <a:buFont typeface="Wingdings" panose="05000000000000000000" pitchFamily="2" charset="2"/>
              <a:buChar char="§"/>
            </a:pPr>
            <a:r>
              <a:rPr lang="ru-RU" altLang="en-US" sz="1600" kern="1200" dirty="0" err="1" smtClean="0">
                <a:solidFill>
                  <a:srgbClr val="000000"/>
                </a:solidFill>
                <a:latin typeface="MTS Text" panose="020B0306020102020303" pitchFamily="34" charset="0"/>
                <a:ea typeface="MTS Text" panose="020B0306020102020303" pitchFamily="34" charset="0"/>
                <a:cs typeface="MTS Text Regular" charset="0"/>
              </a:rPr>
              <a:t>Lean</a:t>
            </a:r>
            <a:r>
              <a:rPr lang="ru-RU" altLang="en-US" sz="1600" kern="1200" dirty="0">
                <a:solidFill>
                  <a:srgbClr val="000000"/>
                </a:solidFill>
                <a:latin typeface="MTS Text" panose="020B0306020102020303" pitchFamily="34" charset="0"/>
                <a:ea typeface="MTS Text" panose="020B0306020102020303" pitchFamily="34" charset="0"/>
                <a:cs typeface="MTS Text Regular" charset="0"/>
              </a:rPr>
              <a:t>, теория ограничений, стандартизация процессов</a:t>
            </a:r>
          </a:p>
          <a:p>
            <a:pPr marL="152408" indent="-152408" defTabSz="609630" rtl="0">
              <a:spcAft>
                <a:spcPts val="400"/>
              </a:spcAft>
              <a:buSzPct val="80000"/>
              <a:buFont typeface="Wingdings" panose="05000000000000000000" pitchFamily="2" charset="2"/>
              <a:buChar char="§"/>
            </a:pPr>
            <a:r>
              <a:rPr lang="ru-RU" altLang="en-US" sz="1600" kern="1200" dirty="0" smtClean="0">
                <a:solidFill>
                  <a:srgbClr val="000000"/>
                </a:solidFill>
                <a:latin typeface="MTS Text" panose="020B0306020102020303" pitchFamily="34" charset="0"/>
                <a:ea typeface="MTS Text" panose="020B0306020102020303" pitchFamily="34" charset="0"/>
                <a:cs typeface="MTS Text Regular" charset="0"/>
              </a:rPr>
              <a:t>Это </a:t>
            </a:r>
            <a:r>
              <a:rPr lang="ru-RU" altLang="en-US" sz="1600" kern="1200" dirty="0">
                <a:solidFill>
                  <a:srgbClr val="000000"/>
                </a:solidFill>
                <a:latin typeface="MTS Text" panose="020B0306020102020303" pitchFamily="34" charset="0"/>
                <a:ea typeface="MTS Text" panose="020B0306020102020303" pitchFamily="34" charset="0"/>
                <a:cs typeface="MTS Text Regular" charset="0"/>
              </a:rPr>
              <a:t>даст вам 70–80% и создаст фундамент для следующего шага</a:t>
            </a:r>
          </a:p>
          <a:p>
            <a:pPr marL="152408" indent="-152408" defTabSz="609630" rtl="0">
              <a:spcAft>
                <a:spcPts val="400"/>
              </a:spcAft>
              <a:buSzPct val="80000"/>
              <a:buFont typeface="Wingdings" panose="05000000000000000000" pitchFamily="2" charset="2"/>
              <a:buChar char="§"/>
            </a:pPr>
            <a:r>
              <a:rPr lang="ru-RU" altLang="en-US" sz="1600" kern="1200" dirty="0" err="1" smtClean="0">
                <a:solidFill>
                  <a:srgbClr val="000000"/>
                </a:solidFill>
                <a:latin typeface="MTS Text" panose="020B0306020102020303" pitchFamily="34" charset="0"/>
                <a:ea typeface="MTS Text" panose="020B0306020102020303" pitchFamily="34" charset="0"/>
                <a:cs typeface="MTS Text Regular" charset="0"/>
              </a:rPr>
              <a:t>Toyota</a:t>
            </a:r>
            <a:r>
              <a:rPr lang="ru-RU" altLang="en-US" sz="1600" kern="1200" dirty="0" smtClean="0">
                <a:solidFill>
                  <a:srgbClr val="000000"/>
                </a:solidFill>
                <a:latin typeface="MTS Text" panose="020B0306020102020303" pitchFamily="34" charset="0"/>
                <a:ea typeface="MTS Text" panose="020B0306020102020303" pitchFamily="34" charset="0"/>
                <a:cs typeface="MTS Text Regular" charset="0"/>
              </a:rPr>
              <a:t> </a:t>
            </a:r>
            <a:r>
              <a:rPr lang="ru-RU" altLang="en-US" sz="1600" kern="1200" dirty="0">
                <a:solidFill>
                  <a:srgbClr val="000000"/>
                </a:solidFill>
                <a:latin typeface="MTS Text" panose="020B0306020102020303" pitchFamily="34" charset="0"/>
                <a:ea typeface="MTS Text" panose="020B0306020102020303" pitchFamily="34" charset="0"/>
                <a:cs typeface="MTS Text Regular" charset="0"/>
              </a:rPr>
              <a:t>доказала: культура и процессы — первичны</a:t>
            </a:r>
          </a:p>
        </p:txBody>
      </p:sp>
      <p:sp>
        <p:nvSpPr>
          <p:cNvPr id="13" name="-"/>
          <p:cNvSpPr>
            <a:spLocks noChangeArrowheads="1"/>
          </p:cNvSpPr>
          <p:nvPr/>
        </p:nvSpPr>
        <p:spPr bwMode="auto">
          <a:xfrm>
            <a:off x="9369359" y="1681556"/>
            <a:ext cx="2625316" cy="25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  <a:latin typeface="MTS Text"/>
              </a:defRPr>
            </a:lvl1pPr>
            <a:lvl2pPr marL="742950" indent="-285750">
              <a:defRPr>
                <a:solidFill>
                  <a:schemeClr val="tx1"/>
                </a:solidFill>
                <a:latin typeface="MTS Text"/>
              </a:defRPr>
            </a:lvl2pPr>
            <a:lvl3pPr marL="1143000" indent="-228600">
              <a:defRPr>
                <a:solidFill>
                  <a:schemeClr val="tx1"/>
                </a:solidFill>
                <a:latin typeface="MTS Text"/>
              </a:defRPr>
            </a:lvl3pPr>
            <a:lvl4pPr marL="1600200" indent="-228600">
              <a:defRPr>
                <a:solidFill>
                  <a:schemeClr val="tx1"/>
                </a:solidFill>
                <a:latin typeface="MTS Text"/>
              </a:defRPr>
            </a:lvl4pPr>
            <a:lvl5pPr marL="2057400" indent="-228600">
              <a:defRPr>
                <a:solidFill>
                  <a:schemeClr val="tx1"/>
                </a:solidFill>
                <a:latin typeface="MTS Text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MTS Text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MTS Text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MTS Text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MTS Text"/>
              </a:defRPr>
            </a:lvl9pPr>
          </a:lstStyle>
          <a:p>
            <a:pPr defTabSz="609630" rtl="0">
              <a:lnSpc>
                <a:spcPct val="92000"/>
              </a:lnSpc>
            </a:pPr>
            <a:r>
              <a:rPr lang="ru-RU" altLang="en-US" sz="1800" kern="1200" dirty="0" smtClean="0">
                <a:solidFill>
                  <a:srgbClr val="000000"/>
                </a:solidFill>
                <a:latin typeface="MTS Text Medium" charset="0"/>
                <a:cs typeface="MTS Text Medium" charset="0"/>
              </a:rPr>
              <a:t>Стройте архитектуру под будущее</a:t>
            </a:r>
            <a:endParaRPr lang="ru-RU" altLang="en-US" sz="1800" kern="1200" dirty="0">
              <a:solidFill>
                <a:srgbClr val="000000"/>
              </a:solidFill>
              <a:latin typeface="MTS Text Medium" charset="0"/>
              <a:cs typeface="MTS Text Medium" charset="0"/>
            </a:endParaRPr>
          </a:p>
        </p:txBody>
      </p:sp>
      <p:sp>
        <p:nvSpPr>
          <p:cNvPr id="14" name="Text 9"/>
          <p:cNvSpPr>
            <a:spLocks noChangeArrowheads="1"/>
          </p:cNvSpPr>
          <p:nvPr/>
        </p:nvSpPr>
        <p:spPr bwMode="auto">
          <a:xfrm>
            <a:off x="3097846" y="1676801"/>
            <a:ext cx="2962274" cy="50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  <a:latin typeface="MTS Text"/>
              </a:defRPr>
            </a:lvl1pPr>
            <a:lvl2pPr marL="742950" indent="-285750">
              <a:defRPr>
                <a:solidFill>
                  <a:schemeClr val="tx1"/>
                </a:solidFill>
                <a:latin typeface="MTS Text"/>
              </a:defRPr>
            </a:lvl2pPr>
            <a:lvl3pPr marL="1143000" indent="-228600">
              <a:defRPr>
                <a:solidFill>
                  <a:schemeClr val="tx1"/>
                </a:solidFill>
                <a:latin typeface="MTS Text"/>
              </a:defRPr>
            </a:lvl3pPr>
            <a:lvl4pPr marL="1600200" indent="-228600">
              <a:defRPr>
                <a:solidFill>
                  <a:schemeClr val="tx1"/>
                </a:solidFill>
                <a:latin typeface="MTS Text"/>
              </a:defRPr>
            </a:lvl4pPr>
            <a:lvl5pPr marL="2057400" indent="-228600">
              <a:defRPr>
                <a:solidFill>
                  <a:schemeClr val="tx1"/>
                </a:solidFill>
                <a:latin typeface="MTS Text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MTS Text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MTS Text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MTS Text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MTS Text"/>
              </a:defRPr>
            </a:lvl9pPr>
          </a:lstStyle>
          <a:p>
            <a:pPr algn="ctr" defTabSz="609630" rtl="0">
              <a:lnSpc>
                <a:spcPct val="92000"/>
              </a:lnSpc>
            </a:pPr>
            <a:r>
              <a:rPr lang="ru-RU" altLang="en-US" sz="1800" kern="1200" dirty="0" smtClean="0">
                <a:solidFill>
                  <a:srgbClr val="000000"/>
                </a:solidFill>
                <a:latin typeface="MTS Text Medium" charset="0"/>
                <a:cs typeface="MTS Text Medium" charset="0"/>
              </a:rPr>
              <a:t>Начните собирать данные</a:t>
            </a:r>
            <a:endParaRPr lang="ru-RU" altLang="en-US" sz="1800" kern="1200" dirty="0">
              <a:solidFill>
                <a:srgbClr val="000000"/>
              </a:solidFill>
              <a:latin typeface="MTS Text Medium" charset="0"/>
              <a:cs typeface="MTS Text Medium" charset="0"/>
            </a:endParaRPr>
          </a:p>
        </p:txBody>
      </p:sp>
      <p:sp>
        <p:nvSpPr>
          <p:cNvPr id="15" name="Text 12"/>
          <p:cNvSpPr>
            <a:spLocks noChangeArrowheads="1"/>
          </p:cNvSpPr>
          <p:nvPr/>
        </p:nvSpPr>
        <p:spPr bwMode="auto">
          <a:xfrm>
            <a:off x="6145845" y="1676801"/>
            <a:ext cx="2962275" cy="50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  <a:latin typeface="MTS Text"/>
              </a:defRPr>
            </a:lvl1pPr>
            <a:lvl2pPr marL="742950" indent="-285750">
              <a:defRPr>
                <a:solidFill>
                  <a:schemeClr val="tx1"/>
                </a:solidFill>
                <a:latin typeface="MTS Text"/>
              </a:defRPr>
            </a:lvl2pPr>
            <a:lvl3pPr marL="1143000" indent="-228600">
              <a:defRPr>
                <a:solidFill>
                  <a:schemeClr val="tx1"/>
                </a:solidFill>
                <a:latin typeface="MTS Text"/>
              </a:defRPr>
            </a:lvl3pPr>
            <a:lvl4pPr marL="1600200" indent="-228600">
              <a:defRPr>
                <a:solidFill>
                  <a:schemeClr val="tx1"/>
                </a:solidFill>
                <a:latin typeface="MTS Text"/>
              </a:defRPr>
            </a:lvl4pPr>
            <a:lvl5pPr marL="2057400" indent="-228600">
              <a:defRPr>
                <a:solidFill>
                  <a:schemeClr val="tx1"/>
                </a:solidFill>
                <a:latin typeface="MTS Text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MTS Text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MTS Text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MTS Text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MTS Text"/>
              </a:defRPr>
            </a:lvl9pPr>
          </a:lstStyle>
          <a:p>
            <a:pPr algn="ctr" defTabSz="609630" rtl="0">
              <a:lnSpc>
                <a:spcPct val="92000"/>
              </a:lnSpc>
            </a:pPr>
            <a:r>
              <a:rPr lang="ru-RU" altLang="en-US" sz="1800" kern="1200" dirty="0" smtClean="0">
                <a:solidFill>
                  <a:srgbClr val="000000"/>
                </a:solidFill>
                <a:latin typeface="MTS Text Medium" charset="0"/>
                <a:cs typeface="MTS Text Medium" charset="0"/>
              </a:rPr>
              <a:t>Пилотируйте точечно</a:t>
            </a:r>
            <a:endParaRPr lang="ru-RU" altLang="en-US" sz="1800" kern="1200" dirty="0">
              <a:solidFill>
                <a:srgbClr val="000000"/>
              </a:solidFill>
              <a:latin typeface="MTS Text Medium" charset="0"/>
              <a:cs typeface="MTS Text Medium" charset="0"/>
            </a:endParaRPr>
          </a:p>
        </p:txBody>
      </p:sp>
      <p:sp>
        <p:nvSpPr>
          <p:cNvPr id="16" name="Text 4"/>
          <p:cNvSpPr>
            <a:spLocks noChangeArrowheads="1"/>
          </p:cNvSpPr>
          <p:nvPr/>
        </p:nvSpPr>
        <p:spPr bwMode="auto">
          <a:xfrm>
            <a:off x="9341326" y="2886704"/>
            <a:ext cx="2592387" cy="984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228600" indent="-228600">
              <a:defRPr>
                <a:solidFill>
                  <a:schemeClr val="tx1"/>
                </a:solidFill>
                <a:latin typeface="MTS Text"/>
              </a:defRPr>
            </a:lvl1pPr>
            <a:lvl2pPr marL="742950" indent="-285750">
              <a:defRPr>
                <a:solidFill>
                  <a:schemeClr val="tx1"/>
                </a:solidFill>
                <a:latin typeface="MTS Text"/>
              </a:defRPr>
            </a:lvl2pPr>
            <a:lvl3pPr marL="1143000" indent="-228600">
              <a:defRPr>
                <a:solidFill>
                  <a:schemeClr val="tx1"/>
                </a:solidFill>
                <a:latin typeface="MTS Text"/>
              </a:defRPr>
            </a:lvl3pPr>
            <a:lvl4pPr marL="1600200" indent="-228600">
              <a:defRPr>
                <a:solidFill>
                  <a:schemeClr val="tx1"/>
                </a:solidFill>
                <a:latin typeface="MTS Text"/>
              </a:defRPr>
            </a:lvl4pPr>
            <a:lvl5pPr marL="2057400" indent="-228600">
              <a:defRPr>
                <a:solidFill>
                  <a:schemeClr val="tx1"/>
                </a:solidFill>
                <a:latin typeface="MTS Text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MTS Text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MTS Text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MTS Text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MTS Text"/>
              </a:defRPr>
            </a:lvl9pPr>
          </a:lstStyle>
          <a:p>
            <a:pPr marL="152408" indent="-152408" defTabSz="609630" rtl="0">
              <a:spcAft>
                <a:spcPts val="400"/>
              </a:spcAft>
              <a:buSzPct val="80000"/>
              <a:buFont typeface="Wingdings" panose="05000000000000000000" pitchFamily="2" charset="2"/>
              <a:buChar char="§"/>
            </a:pPr>
            <a:r>
              <a:rPr lang="ru-RU" sz="1600" kern="1200" dirty="0" smtClean="0">
                <a:solidFill>
                  <a:srgbClr val="1D2023"/>
                </a:solidFill>
              </a:rPr>
              <a:t>Любое </a:t>
            </a:r>
            <a:r>
              <a:rPr lang="ru-RU" sz="1600" kern="1200" dirty="0">
                <a:solidFill>
                  <a:srgbClr val="1D2023"/>
                </a:solidFill>
              </a:rPr>
              <a:t>решение сегодня должно быть совместимо с 5G/AI/</a:t>
            </a:r>
            <a:r>
              <a:rPr lang="ru-RU" sz="1600" kern="1200" dirty="0" err="1">
                <a:solidFill>
                  <a:srgbClr val="1D2023"/>
                </a:solidFill>
              </a:rPr>
              <a:t>Robotics</a:t>
            </a:r>
            <a:r>
              <a:rPr lang="ru-RU" sz="1600" kern="1200" dirty="0">
                <a:solidFill>
                  <a:srgbClr val="1D2023"/>
                </a:solidFill>
              </a:rPr>
              <a:t> завтра</a:t>
            </a:r>
          </a:p>
          <a:p>
            <a:pPr marL="152408" indent="-152408" defTabSz="609630" rtl="0">
              <a:spcAft>
                <a:spcPts val="400"/>
              </a:spcAft>
              <a:buSzPct val="80000"/>
              <a:buFont typeface="Wingdings" panose="05000000000000000000" pitchFamily="2" charset="2"/>
              <a:buChar char="§"/>
            </a:pPr>
            <a:r>
              <a:rPr lang="ru-RU" sz="1600" kern="1200" dirty="0" smtClean="0">
                <a:solidFill>
                  <a:srgbClr val="1D2023"/>
                </a:solidFill>
              </a:rPr>
              <a:t>Не </a:t>
            </a:r>
            <a:r>
              <a:rPr lang="ru-RU" sz="1600" kern="1200" dirty="0">
                <a:solidFill>
                  <a:srgbClr val="1D2023"/>
                </a:solidFill>
              </a:rPr>
              <a:t>создавайте технологический долг, который придётся сносить через 3 </a:t>
            </a:r>
            <a:r>
              <a:rPr lang="ru-RU" sz="1600" kern="1200" dirty="0" smtClean="0">
                <a:solidFill>
                  <a:srgbClr val="1D2023"/>
                </a:solidFill>
              </a:rPr>
              <a:t>года</a:t>
            </a:r>
          </a:p>
          <a:p>
            <a:pPr marL="152408" indent="-152408" defTabSz="609630" rtl="0">
              <a:spcAft>
                <a:spcPts val="400"/>
              </a:spcAft>
              <a:buSzPct val="80000"/>
              <a:buFont typeface="Wingdings" panose="05000000000000000000" pitchFamily="2" charset="2"/>
              <a:buChar char="§"/>
            </a:pPr>
            <a:r>
              <a:rPr lang="ru-RU" sz="1600" kern="1200" dirty="0" smtClean="0">
                <a:solidFill>
                  <a:srgbClr val="1D2023"/>
                </a:solidFill>
              </a:rPr>
              <a:t>Выбирайте надежных партнеров с многолетним опытом и технологиями будущего</a:t>
            </a:r>
            <a:endParaRPr lang="ru-RU" sz="1600" kern="1200" dirty="0">
              <a:solidFill>
                <a:srgbClr val="1D2023"/>
              </a:solidFill>
            </a:endParaRPr>
          </a:p>
          <a:p>
            <a:pPr marL="0" indent="0" defTabSz="609630" rtl="0">
              <a:spcAft>
                <a:spcPts val="400"/>
              </a:spcAft>
              <a:buSzPct val="80000"/>
            </a:pPr>
            <a:endParaRPr lang="ru-RU" altLang="en-US" sz="1600" kern="1200" dirty="0">
              <a:solidFill>
                <a:srgbClr val="000000"/>
              </a:solidFill>
              <a:latin typeface="MTS Text Regular" charset="0"/>
              <a:cs typeface="MTS Text Regular" charset="0"/>
            </a:endParaRPr>
          </a:p>
        </p:txBody>
      </p:sp>
      <p:sp>
        <p:nvSpPr>
          <p:cNvPr id="17" name="Text 4"/>
          <p:cNvSpPr>
            <a:spLocks noChangeArrowheads="1"/>
          </p:cNvSpPr>
          <p:nvPr/>
        </p:nvSpPr>
        <p:spPr bwMode="auto">
          <a:xfrm>
            <a:off x="6265864" y="2874010"/>
            <a:ext cx="2592387" cy="984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228600" indent="-228600">
              <a:defRPr>
                <a:solidFill>
                  <a:schemeClr val="tx1"/>
                </a:solidFill>
                <a:latin typeface="MTS Text"/>
              </a:defRPr>
            </a:lvl1pPr>
            <a:lvl2pPr marL="742950" indent="-285750">
              <a:defRPr>
                <a:solidFill>
                  <a:schemeClr val="tx1"/>
                </a:solidFill>
                <a:latin typeface="MTS Text"/>
              </a:defRPr>
            </a:lvl2pPr>
            <a:lvl3pPr marL="1143000" indent="-228600">
              <a:defRPr>
                <a:solidFill>
                  <a:schemeClr val="tx1"/>
                </a:solidFill>
                <a:latin typeface="MTS Text"/>
              </a:defRPr>
            </a:lvl3pPr>
            <a:lvl4pPr marL="1600200" indent="-228600">
              <a:defRPr>
                <a:solidFill>
                  <a:schemeClr val="tx1"/>
                </a:solidFill>
                <a:latin typeface="MTS Text"/>
              </a:defRPr>
            </a:lvl4pPr>
            <a:lvl5pPr marL="2057400" indent="-228600">
              <a:defRPr>
                <a:solidFill>
                  <a:schemeClr val="tx1"/>
                </a:solidFill>
                <a:latin typeface="MTS Text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MTS Text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MTS Text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MTS Text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MTS Text"/>
              </a:defRPr>
            </a:lvl9pPr>
          </a:lstStyle>
          <a:p>
            <a:pPr marL="152408" indent="-152408" defTabSz="609630" rtl="0">
              <a:spcAft>
                <a:spcPts val="400"/>
              </a:spcAft>
              <a:buSzPct val="80000"/>
              <a:buFont typeface="Wingdings" panose="05000000000000000000" pitchFamily="2" charset="2"/>
              <a:buChar char="§"/>
            </a:pPr>
            <a:r>
              <a:rPr lang="ru-RU" sz="1600" kern="1200" dirty="0" smtClean="0">
                <a:solidFill>
                  <a:srgbClr val="1D2023"/>
                </a:solidFill>
              </a:rPr>
              <a:t>Не </a:t>
            </a:r>
            <a:r>
              <a:rPr lang="ru-RU" sz="1600" kern="1200" dirty="0">
                <a:solidFill>
                  <a:srgbClr val="1D2023"/>
                </a:solidFill>
              </a:rPr>
              <a:t>нужно внедрять всё сразу</a:t>
            </a:r>
          </a:p>
          <a:p>
            <a:pPr marL="152408" indent="-152408" defTabSz="609630" rtl="0">
              <a:spcAft>
                <a:spcPts val="400"/>
              </a:spcAft>
              <a:buSzPct val="80000"/>
              <a:buFont typeface="Wingdings" panose="05000000000000000000" pitchFamily="2" charset="2"/>
              <a:buChar char="§"/>
            </a:pPr>
            <a:r>
              <a:rPr lang="ru-RU" sz="1600" kern="1200" dirty="0" smtClean="0">
                <a:solidFill>
                  <a:srgbClr val="1D2023"/>
                </a:solidFill>
              </a:rPr>
              <a:t>Один </a:t>
            </a:r>
            <a:r>
              <a:rPr lang="ru-RU" sz="1600" kern="1200" dirty="0">
                <a:solidFill>
                  <a:srgbClr val="1D2023"/>
                </a:solidFill>
              </a:rPr>
              <a:t>процесс, один AI-инструмент, один робот</a:t>
            </a:r>
          </a:p>
          <a:p>
            <a:pPr marL="152408" indent="-152408" defTabSz="609630" rtl="0">
              <a:spcAft>
                <a:spcPts val="400"/>
              </a:spcAft>
              <a:buSzPct val="80000"/>
              <a:buFont typeface="Wingdings" panose="05000000000000000000" pitchFamily="2" charset="2"/>
              <a:buChar char="§"/>
            </a:pPr>
            <a:r>
              <a:rPr lang="ru-RU" sz="1600" kern="1200" dirty="0" smtClean="0">
                <a:solidFill>
                  <a:srgbClr val="1D2023"/>
                </a:solidFill>
              </a:rPr>
              <a:t>Докажите </a:t>
            </a:r>
            <a:r>
              <a:rPr lang="ru-RU" sz="1600" kern="1200" dirty="0">
                <a:solidFill>
                  <a:srgbClr val="1D2023"/>
                </a:solidFill>
              </a:rPr>
              <a:t>эффект, масштабируйте</a:t>
            </a:r>
          </a:p>
          <a:p>
            <a:pPr marL="0" indent="0" defTabSz="609630" rtl="0">
              <a:spcAft>
                <a:spcPts val="400"/>
              </a:spcAft>
              <a:buSzPct val="80000"/>
            </a:pPr>
            <a:endParaRPr lang="ru-RU" altLang="en-US" sz="1600" kern="1200" dirty="0">
              <a:solidFill>
                <a:srgbClr val="000000"/>
              </a:solidFill>
              <a:latin typeface="MTS Text Regular" charset="0"/>
              <a:cs typeface="MTS Text Regular" charset="0"/>
            </a:endParaRPr>
          </a:p>
        </p:txBody>
      </p:sp>
      <p:sp>
        <p:nvSpPr>
          <p:cNvPr id="18" name="Text 4"/>
          <p:cNvSpPr>
            <a:spLocks noChangeArrowheads="1"/>
          </p:cNvSpPr>
          <p:nvPr/>
        </p:nvSpPr>
        <p:spPr bwMode="auto">
          <a:xfrm>
            <a:off x="3216453" y="2881948"/>
            <a:ext cx="2592387" cy="984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228600" indent="-228600">
              <a:defRPr>
                <a:solidFill>
                  <a:schemeClr val="tx1"/>
                </a:solidFill>
                <a:latin typeface="MTS Text"/>
              </a:defRPr>
            </a:lvl1pPr>
            <a:lvl2pPr marL="742950" indent="-285750">
              <a:defRPr>
                <a:solidFill>
                  <a:schemeClr val="tx1"/>
                </a:solidFill>
                <a:latin typeface="MTS Text"/>
              </a:defRPr>
            </a:lvl2pPr>
            <a:lvl3pPr marL="1143000" indent="-228600">
              <a:defRPr>
                <a:solidFill>
                  <a:schemeClr val="tx1"/>
                </a:solidFill>
                <a:latin typeface="MTS Text"/>
              </a:defRPr>
            </a:lvl3pPr>
            <a:lvl4pPr marL="1600200" indent="-228600">
              <a:defRPr>
                <a:solidFill>
                  <a:schemeClr val="tx1"/>
                </a:solidFill>
                <a:latin typeface="MTS Text"/>
              </a:defRPr>
            </a:lvl4pPr>
            <a:lvl5pPr marL="2057400" indent="-228600">
              <a:defRPr>
                <a:solidFill>
                  <a:schemeClr val="tx1"/>
                </a:solidFill>
                <a:latin typeface="MTS Text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MTS Text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MTS Text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MTS Text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MTS Text"/>
              </a:defRPr>
            </a:lvl9pPr>
          </a:lstStyle>
          <a:p>
            <a:pPr marL="152408" indent="-152408" defTabSz="609630" rtl="0">
              <a:spcAft>
                <a:spcPts val="400"/>
              </a:spcAft>
              <a:buSzPct val="80000"/>
              <a:buFont typeface="Wingdings" panose="05000000000000000000" pitchFamily="2" charset="2"/>
              <a:buChar char="§"/>
            </a:pPr>
            <a:r>
              <a:rPr lang="ru-RU" sz="1600" kern="1200" dirty="0" smtClean="0">
                <a:solidFill>
                  <a:srgbClr val="1D2023"/>
                </a:solidFill>
              </a:rPr>
              <a:t>Даже </a:t>
            </a:r>
            <a:r>
              <a:rPr lang="ru-RU" sz="1600" kern="1200" dirty="0">
                <a:solidFill>
                  <a:srgbClr val="1D2023"/>
                </a:solidFill>
              </a:rPr>
              <a:t>без AI — начните оцифровывать процессы</a:t>
            </a:r>
          </a:p>
          <a:p>
            <a:pPr marL="152408" indent="-152408" defTabSz="609630" rtl="0">
              <a:spcAft>
                <a:spcPts val="400"/>
              </a:spcAft>
              <a:buSzPct val="80000"/>
              <a:buFont typeface="Wingdings" panose="05000000000000000000" pitchFamily="2" charset="2"/>
              <a:buChar char="§"/>
            </a:pPr>
            <a:r>
              <a:rPr lang="ru-RU" sz="1600" kern="1200" dirty="0" smtClean="0">
                <a:solidFill>
                  <a:srgbClr val="1D2023"/>
                </a:solidFill>
              </a:rPr>
              <a:t>Датчики</a:t>
            </a:r>
            <a:r>
              <a:rPr lang="ru-RU" sz="1600" kern="1200" dirty="0">
                <a:solidFill>
                  <a:srgbClr val="1D2023"/>
                </a:solidFill>
              </a:rPr>
              <a:t>, простая аналитика, </a:t>
            </a:r>
            <a:r>
              <a:rPr lang="ru-RU" sz="1600" kern="1200" dirty="0" err="1">
                <a:solidFill>
                  <a:srgbClr val="1D2023"/>
                </a:solidFill>
              </a:rPr>
              <a:t>дашборды</a:t>
            </a:r>
            <a:endParaRPr lang="ru-RU" sz="1600" kern="1200" dirty="0">
              <a:solidFill>
                <a:srgbClr val="1D2023"/>
              </a:solidFill>
            </a:endParaRPr>
          </a:p>
          <a:p>
            <a:pPr marL="152408" indent="-152408" defTabSz="609630" rtl="0">
              <a:spcAft>
                <a:spcPts val="400"/>
              </a:spcAft>
              <a:buSzPct val="80000"/>
              <a:buFont typeface="Wingdings" panose="05000000000000000000" pitchFamily="2" charset="2"/>
              <a:buChar char="§"/>
            </a:pPr>
            <a:r>
              <a:rPr lang="ru-RU" sz="1600" kern="1200" dirty="0" smtClean="0">
                <a:solidFill>
                  <a:srgbClr val="1D2023"/>
                </a:solidFill>
              </a:rPr>
              <a:t>Данные </a:t>
            </a:r>
            <a:r>
              <a:rPr lang="ru-RU" sz="1600" kern="1200" dirty="0">
                <a:solidFill>
                  <a:srgbClr val="1D2023"/>
                </a:solidFill>
              </a:rPr>
              <a:t>— это топливо. Без топлива AI бесполезен. </a:t>
            </a:r>
            <a:endParaRPr lang="ru-RU" sz="1600" kern="1200" dirty="0" smtClean="0">
              <a:solidFill>
                <a:srgbClr val="1D2023"/>
              </a:solidFill>
            </a:endParaRPr>
          </a:p>
          <a:p>
            <a:pPr marL="152408" indent="-152408" defTabSz="609630" rtl="0">
              <a:spcAft>
                <a:spcPts val="400"/>
              </a:spcAft>
              <a:buSzPct val="80000"/>
              <a:buFont typeface="Wingdings" panose="05000000000000000000" pitchFamily="2" charset="2"/>
              <a:buChar char="§"/>
            </a:pPr>
            <a:r>
              <a:rPr lang="ru-RU" sz="1600" kern="1200" dirty="0" smtClean="0">
                <a:solidFill>
                  <a:srgbClr val="1D2023"/>
                </a:solidFill>
              </a:rPr>
              <a:t>Начните </a:t>
            </a:r>
            <a:r>
              <a:rPr lang="ru-RU" sz="1600" kern="1200" dirty="0">
                <a:solidFill>
                  <a:srgbClr val="1D2023"/>
                </a:solidFill>
              </a:rPr>
              <a:t>копить </a:t>
            </a:r>
            <a:r>
              <a:rPr lang="ru-RU" sz="1600" kern="1200" dirty="0" smtClean="0">
                <a:solidFill>
                  <a:srgbClr val="1D2023"/>
                </a:solidFill>
              </a:rPr>
              <a:t>данные сейчас</a:t>
            </a:r>
            <a:endParaRPr lang="ru-RU" sz="1600" kern="1200" dirty="0">
              <a:solidFill>
                <a:srgbClr val="1D202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184066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/>
    </mc:Choice>
    <mc:Fallback xmlns:w="http://schemas.openxmlformats.org/wordprocessingml/2006/main" xmlns:m="http://schemas.openxmlformats.org/officeDocument/2006/math" xmlns="">
      <p:transition advClick="1"/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2B_CMYK_2 1"/>
          <p:cNvSpPr/>
          <p:nvPr/>
        </p:nvSpPr>
        <p:spPr>
          <a:xfrm>
            <a:off x="0" y="-2301874"/>
            <a:ext cx="12192000" cy="11461750"/>
          </a:xfrm>
          <a:prstGeom prst="rect">
            <a:avLst/>
          </a:prstGeom>
          <a:solidFill>
            <a:srgbClr val="FF0024"/>
          </a:solidFill>
          <a:ln/>
        </p:spPr>
      </p:sp>
      <p:pic>
        <p:nvPicPr>
          <p:cNvPr id="3" name="Frame 2085661801" descr="preencoded.png"/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=""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238250" y="3365500"/>
            <a:ext cx="4254500" cy="635000"/>
          </a:xfrm>
          <a:prstGeom prst="rect">
            <a:avLst/>
          </a:prstGeom>
        </p:spPr>
      </p:pic>
      <p:pic>
        <p:nvPicPr>
          <p:cNvPr id="4" name="Frame 2085661800" descr="preencoded.png"/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=""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238250" y="4191000"/>
            <a:ext cx="4254500" cy="635000"/>
          </a:xfrm>
          <a:prstGeom prst="rect">
            <a:avLst/>
          </a:prstGeom>
        </p:spPr>
      </p:pic>
      <p:pic>
        <p:nvPicPr>
          <p:cNvPr id="5" name="Frame 2085661799" descr="preencoded.png"/>
          <p:cNvPicPr>
            <a:picLocks noChangeAspect="1"/>
          </p:cNvPicPr>
          <p:nvPr/>
        </p:nvPicPr>
        <p:blipFill>
          <a:blip r:embed="rId7"/>
          <a:srcRect/>
          <a:stretch/>
        </p:blipFill>
        <p:spPr>
          <a:xfrm>
            <a:off x="1238250" y="5016500"/>
            <a:ext cx="4254500" cy="635000"/>
          </a:xfrm>
          <a:prstGeom prst="rect">
            <a:avLst/>
          </a:prstGeom>
        </p:spPr>
      </p:pic>
      <p:pic>
        <p:nvPicPr>
          <p:cNvPr id="6" name="QR подколзин 1" descr="preencoded.png"/>
          <p:cNvPicPr>
            <a:picLocks noChangeAspect="1"/>
          </p:cNvPicPr>
          <p:nvPr/>
        </p:nvPicPr>
        <p:blipFill>
          <a:blip r:embed="rId8"/>
          <a:srcRect/>
          <a:stretch/>
        </p:blipFill>
        <p:spPr>
          <a:xfrm>
            <a:off x="6032500" y="3365500"/>
            <a:ext cx="2286000" cy="2286000"/>
          </a:xfrm>
          <a:prstGeom prst="rect">
            <a:avLst/>
          </a:prstGeom>
        </p:spPr>
      </p:pic>
      <p:pic>
        <p:nvPicPr>
          <p:cNvPr id="7" name="Group 2085661914" descr="preencoded.png"/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="" xmlns:asvg="http://schemas.microsoft.com/office/drawing/2016/SVG/main" r:embed="rId10"/>
              </a:ext>
            </a:extLst>
          </a:blip>
          <a:srcRect/>
          <a:stretch/>
        </p:blipFill>
        <p:spPr>
          <a:xfrm>
            <a:off x="254000" y="254000"/>
            <a:ext cx="11684000" cy="6362700"/>
          </a:xfrm>
          <a:prstGeom prst="rect">
            <a:avLst/>
          </a:prstGeom>
        </p:spPr>
      </p:pic>
      <p:sp>
        <p:nvSpPr>
          <p:cNvPr id="8" name="Text 1"/>
          <p:cNvSpPr/>
          <p:nvPr/>
        </p:nvSpPr>
        <p:spPr>
          <a:xfrm>
            <a:off x="1200150" y="1231900"/>
            <a:ext cx="9994900" cy="1524000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>
              <a:lnSpc>
                <a:spcPct val="91667"/>
              </a:lnSpc>
            </a:pPr>
            <a:r>
              <a:rPr lang="en-US" sz="5466" dirty="0">
                <a:solidFill>
                  <a:srgbClr val="FFFFFF"/>
                </a:solidFill>
                <a:latin typeface="MTS Wide Medium" pitchFamily="34" charset="0"/>
                <a:ea typeface="MTS Wide Medium" pitchFamily="34" charset="-122"/>
                <a:cs typeface="MTS Wide Medium" pitchFamily="34" charset="-120"/>
              </a:rPr>
              <a:t>ПОДБЕРЁМ РЕШЕНИЯ 
ДЛЯ ВАШИХ ЗАДАЧ</a:t>
            </a:r>
            <a:endParaRPr lang="en-US" sz="5466" dirty="0"/>
          </a:p>
        </p:txBody>
      </p:sp>
      <p:sp>
        <p:nvSpPr>
          <p:cNvPr id="9" name="Text 2"/>
          <p:cNvSpPr/>
          <p:nvPr/>
        </p:nvSpPr>
        <p:spPr>
          <a:xfrm>
            <a:off x="2114550" y="3505200"/>
            <a:ext cx="2501900" cy="355600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algn="ctr">
              <a:lnSpc>
                <a:spcPct val="91667"/>
              </a:lnSpc>
            </a:pPr>
            <a:r>
              <a:rPr lang="en-US" sz="2530" dirty="0">
                <a:solidFill>
                  <a:srgbClr val="000000"/>
                </a:solidFill>
                <a:latin typeface="MTS Text Medium" pitchFamily="34" charset="0"/>
                <a:ea typeface="MTS Text Medium" pitchFamily="34" charset="-122"/>
                <a:cs typeface="MTS Text Medium" pitchFamily="34" charset="-120"/>
              </a:rPr>
              <a:t>Павел Федосов</a:t>
            </a:r>
            <a:endParaRPr lang="en-US" sz="2530" dirty="0"/>
          </a:p>
        </p:txBody>
      </p:sp>
      <p:sp>
        <p:nvSpPr>
          <p:cNvPr id="10" name="fedosovmtsru"/>
          <p:cNvSpPr/>
          <p:nvPr/>
        </p:nvSpPr>
        <p:spPr>
          <a:xfrm>
            <a:off x="2063750" y="4330700"/>
            <a:ext cx="2603500" cy="355600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algn="ctr">
              <a:lnSpc>
                <a:spcPct val="91667"/>
              </a:lnSpc>
            </a:pPr>
            <a:r>
              <a:rPr lang="en-US" sz="2530" dirty="0">
                <a:solidFill>
                  <a:srgbClr val="FFFFFF"/>
                </a:solidFill>
                <a:latin typeface="MTS Text Medium" pitchFamily="34" charset="0"/>
                <a:ea typeface="MTS Text Medium" pitchFamily="34" charset="-122"/>
                <a:cs typeface="MTS Text Medium" pitchFamily="34" charset="-120"/>
              </a:rPr>
              <a:t>fedosov@mts.ru</a:t>
            </a:r>
            <a:endParaRPr lang="en-US" sz="2530" dirty="0"/>
          </a:p>
        </p:txBody>
      </p:sp>
      <p:sp>
        <p:nvSpPr>
          <p:cNvPr id="11" name="name_8 985 971-09-10"/>
          <p:cNvSpPr/>
          <p:nvPr/>
        </p:nvSpPr>
        <p:spPr>
          <a:xfrm>
            <a:off x="2082800" y="5156200"/>
            <a:ext cx="2565400" cy="355600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algn="ctr">
              <a:lnSpc>
                <a:spcPct val="91667"/>
              </a:lnSpc>
            </a:pPr>
            <a:r>
              <a:rPr lang="en-US" sz="2530" dirty="0">
                <a:solidFill>
                  <a:srgbClr val="FFFFFF"/>
                </a:solidFill>
                <a:latin typeface="MTS Text Medium" pitchFamily="34" charset="0"/>
                <a:ea typeface="MTS Text Medium" pitchFamily="34" charset="-122"/>
                <a:cs typeface="MTS Text Medium" pitchFamily="34" charset="-120"/>
              </a:rPr>
              <a:t>8 985 971-09-10</a:t>
            </a:r>
            <a:endParaRPr lang="en-US" sz="2530" dirty="0"/>
          </a:p>
        </p:txBody>
      </p:sp>
    </p:spTree>
    <p:extLst>
      <p:ext uri="{BB962C8B-B14F-4D97-AF65-F5344CB8AC3E}">
        <p14:creationId xmlns:p14="http://schemas.microsoft.com/office/powerpoint/2010/main" val="326092370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Frame" descr="preencoded.png"/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=""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1430000" y="0"/>
            <a:ext cx="762000" cy="762000"/>
          </a:xfrm>
          <a:prstGeom prst="rect">
            <a:avLst/>
          </a:prstGeom>
        </p:spPr>
      </p:pic>
      <p:pic>
        <p:nvPicPr>
          <p:cNvPr id="3" name="Rectangle 23" descr="preencoded.png"/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=""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0" y="1981201"/>
            <a:ext cx="4064000" cy="3460751"/>
          </a:xfrm>
          <a:prstGeom prst="rect">
            <a:avLst/>
          </a:prstGeom>
        </p:spPr>
      </p:pic>
      <p:pic>
        <p:nvPicPr>
          <p:cNvPr id="4" name="Rectangle 24" descr="preencoded.png"/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="" xmlns:asvg="http://schemas.microsoft.com/office/drawing/2016/SVG/main" r:embed="rId8"/>
              </a:ext>
            </a:extLst>
          </a:blip>
          <a:srcRect/>
          <a:stretch/>
        </p:blipFill>
        <p:spPr>
          <a:xfrm>
            <a:off x="4064000" y="1981201"/>
            <a:ext cx="4064000" cy="3460751"/>
          </a:xfrm>
          <a:prstGeom prst="rect">
            <a:avLst/>
          </a:prstGeom>
        </p:spPr>
      </p:pic>
      <p:pic>
        <p:nvPicPr>
          <p:cNvPr id="5" name="Rectangle 25" descr="preencoded.png"/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="" xmlns:asvg="http://schemas.microsoft.com/office/drawing/2016/SVG/main" r:embed="rId10"/>
              </a:ext>
            </a:extLst>
          </a:blip>
          <a:srcRect/>
          <a:stretch/>
        </p:blipFill>
        <p:spPr>
          <a:xfrm>
            <a:off x="8128000" y="1981201"/>
            <a:ext cx="4064000" cy="3460751"/>
          </a:xfrm>
          <a:prstGeom prst="rect">
            <a:avLst/>
          </a:prstGeom>
        </p:spPr>
      </p:pic>
      <p:pic>
        <p:nvPicPr>
          <p:cNvPr id="10" name="Bullit" descr="preencoded.png"/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="" xmlns:asvg="http://schemas.microsoft.com/office/drawing/2016/SVG/main" r:embed="rId20"/>
              </a:ext>
            </a:extLst>
          </a:blip>
          <a:srcRect/>
          <a:stretch/>
        </p:blipFill>
        <p:spPr>
          <a:xfrm>
            <a:off x="254001" y="3859652"/>
            <a:ext cx="38100" cy="171451"/>
          </a:xfrm>
          <a:prstGeom prst="rect">
            <a:avLst/>
          </a:prstGeom>
        </p:spPr>
      </p:pic>
      <p:pic>
        <p:nvPicPr>
          <p:cNvPr id="11" name="Bullit" descr="preencoded.png"/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="" xmlns:asvg="http://schemas.microsoft.com/office/drawing/2016/SVG/main" r:embed="rId20"/>
              </a:ext>
            </a:extLst>
          </a:blip>
          <a:srcRect/>
          <a:stretch/>
        </p:blipFill>
        <p:spPr>
          <a:xfrm>
            <a:off x="254001" y="4081903"/>
            <a:ext cx="38100" cy="171451"/>
          </a:xfrm>
          <a:prstGeom prst="rect">
            <a:avLst/>
          </a:prstGeom>
        </p:spPr>
      </p:pic>
      <p:pic>
        <p:nvPicPr>
          <p:cNvPr id="12" name="Frame 2085661667" descr="preencoded.png"/>
          <p:cNvPicPr>
            <a:picLocks noChangeAspect="1"/>
          </p:cNvPicPr>
          <p:nvPr/>
        </p:nvPicPr>
        <p:blipFill>
          <a:blip r:embed="rId21">
            <a:extLst>
              <a:ext uri="{96DAC541-7B7A-43D3-8B79-37D633B846F1}">
                <asvg:svgBlip xmlns="" xmlns:asvg="http://schemas.microsoft.com/office/drawing/2016/SVG/main" r:embed="rId22"/>
              </a:ext>
            </a:extLst>
          </a:blip>
          <a:srcRect/>
          <a:stretch/>
        </p:blipFill>
        <p:spPr>
          <a:xfrm>
            <a:off x="4318000" y="2945252"/>
            <a:ext cx="1422400" cy="349251"/>
          </a:xfrm>
          <a:prstGeom prst="rect">
            <a:avLst/>
          </a:prstGeom>
        </p:spPr>
      </p:pic>
      <p:pic>
        <p:nvPicPr>
          <p:cNvPr id="13" name="Frame 2085661668" descr="preencoded.png"/>
          <p:cNvPicPr>
            <a:picLocks noChangeAspect="1"/>
          </p:cNvPicPr>
          <p:nvPr/>
        </p:nvPicPr>
        <p:blipFill>
          <a:blip r:embed="rId23">
            <a:extLst>
              <a:ext uri="{96DAC541-7B7A-43D3-8B79-37D633B846F1}">
                <asvg:svgBlip xmlns="" xmlns:asvg="http://schemas.microsoft.com/office/drawing/2016/SVG/main" r:embed="rId14"/>
              </a:ext>
            </a:extLst>
          </a:blip>
          <a:srcRect/>
          <a:stretch/>
        </p:blipFill>
        <p:spPr>
          <a:xfrm>
            <a:off x="5803901" y="2945252"/>
            <a:ext cx="850900" cy="349251"/>
          </a:xfrm>
          <a:prstGeom prst="rect">
            <a:avLst/>
          </a:prstGeom>
        </p:spPr>
      </p:pic>
      <p:pic>
        <p:nvPicPr>
          <p:cNvPr id="14" name="Frame 2085661669" descr="preencoded.png"/>
          <p:cNvPicPr>
            <a:picLocks noChangeAspect="1"/>
          </p:cNvPicPr>
          <p:nvPr/>
        </p:nvPicPr>
        <p:blipFill>
          <a:blip r:embed="rId24">
            <a:extLst>
              <a:ext uri="{96DAC541-7B7A-43D3-8B79-37D633B846F1}">
                <asvg:svgBlip xmlns="" xmlns:asvg="http://schemas.microsoft.com/office/drawing/2016/SVG/main" r:embed="rId16"/>
              </a:ext>
            </a:extLst>
          </a:blip>
          <a:srcRect/>
          <a:stretch/>
        </p:blipFill>
        <p:spPr>
          <a:xfrm>
            <a:off x="4318001" y="3358003"/>
            <a:ext cx="844551" cy="349251"/>
          </a:xfrm>
          <a:prstGeom prst="rect">
            <a:avLst/>
          </a:prstGeom>
        </p:spPr>
      </p:pic>
      <p:pic>
        <p:nvPicPr>
          <p:cNvPr id="15" name="Frame 2085661670" descr="preencoded.png"/>
          <p:cNvPicPr>
            <a:picLocks noChangeAspect="1"/>
          </p:cNvPicPr>
          <p:nvPr/>
        </p:nvPicPr>
        <p:blipFill>
          <a:blip r:embed="rId25">
            <a:extLst>
              <a:ext uri="{96DAC541-7B7A-43D3-8B79-37D633B846F1}">
                <asvg:svgBlip xmlns="" xmlns:asvg="http://schemas.microsoft.com/office/drawing/2016/SVG/main" r:embed="rId26"/>
              </a:ext>
            </a:extLst>
          </a:blip>
          <a:srcRect/>
          <a:stretch/>
        </p:blipFill>
        <p:spPr>
          <a:xfrm>
            <a:off x="5226051" y="3358003"/>
            <a:ext cx="647700" cy="349251"/>
          </a:xfrm>
          <a:prstGeom prst="rect">
            <a:avLst/>
          </a:prstGeom>
        </p:spPr>
      </p:pic>
      <p:pic>
        <p:nvPicPr>
          <p:cNvPr id="16" name="Bullit" descr="preencoded.png"/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="" xmlns:asvg="http://schemas.microsoft.com/office/drawing/2016/SVG/main" r:embed="rId20"/>
              </a:ext>
            </a:extLst>
          </a:blip>
          <a:srcRect/>
          <a:stretch/>
        </p:blipFill>
        <p:spPr>
          <a:xfrm>
            <a:off x="4318001" y="3859652"/>
            <a:ext cx="38100" cy="171451"/>
          </a:xfrm>
          <a:prstGeom prst="rect">
            <a:avLst/>
          </a:prstGeom>
        </p:spPr>
      </p:pic>
      <p:pic>
        <p:nvPicPr>
          <p:cNvPr id="17" name="Bullit" descr="preencoded.png"/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="" xmlns:asvg="http://schemas.microsoft.com/office/drawing/2016/SVG/main" r:embed="rId20"/>
              </a:ext>
            </a:extLst>
          </a:blip>
          <a:srcRect/>
          <a:stretch/>
        </p:blipFill>
        <p:spPr>
          <a:xfrm>
            <a:off x="4318001" y="4081903"/>
            <a:ext cx="38100" cy="171451"/>
          </a:xfrm>
          <a:prstGeom prst="rect">
            <a:avLst/>
          </a:prstGeom>
        </p:spPr>
      </p:pic>
      <p:pic>
        <p:nvPicPr>
          <p:cNvPr id="18" name="Frame 2085661667" descr="preencoded.png"/>
          <p:cNvPicPr>
            <a:picLocks noChangeAspect="1"/>
          </p:cNvPicPr>
          <p:nvPr/>
        </p:nvPicPr>
        <p:blipFill>
          <a:blip r:embed="rId21">
            <a:extLst>
              <a:ext uri="{96DAC541-7B7A-43D3-8B79-37D633B846F1}">
                <asvg:svgBlip xmlns="" xmlns:asvg="http://schemas.microsoft.com/office/drawing/2016/SVG/main" r:embed="rId22"/>
              </a:ext>
            </a:extLst>
          </a:blip>
          <a:srcRect/>
          <a:stretch/>
        </p:blipFill>
        <p:spPr>
          <a:xfrm>
            <a:off x="8382000" y="3053203"/>
            <a:ext cx="1422400" cy="349251"/>
          </a:xfrm>
          <a:prstGeom prst="rect">
            <a:avLst/>
          </a:prstGeom>
        </p:spPr>
      </p:pic>
      <p:pic>
        <p:nvPicPr>
          <p:cNvPr id="19" name="Frame 2085661668" descr="preencoded.png"/>
          <p:cNvPicPr>
            <a:picLocks noChangeAspect="1"/>
          </p:cNvPicPr>
          <p:nvPr/>
        </p:nvPicPr>
        <p:blipFill>
          <a:blip r:embed="rId27">
            <a:extLst>
              <a:ext uri="{96DAC541-7B7A-43D3-8B79-37D633B846F1}">
                <asvg:svgBlip xmlns="" xmlns:asvg="http://schemas.microsoft.com/office/drawing/2016/SVG/main" r:embed="rId28"/>
              </a:ext>
            </a:extLst>
          </a:blip>
          <a:srcRect/>
          <a:stretch/>
        </p:blipFill>
        <p:spPr>
          <a:xfrm>
            <a:off x="9867900" y="3053203"/>
            <a:ext cx="635000" cy="349251"/>
          </a:xfrm>
          <a:prstGeom prst="rect">
            <a:avLst/>
          </a:prstGeom>
        </p:spPr>
      </p:pic>
      <p:pic>
        <p:nvPicPr>
          <p:cNvPr id="20" name="Frame 2085661669" descr="preencoded.png"/>
          <p:cNvPicPr>
            <a:picLocks noChangeAspect="1"/>
          </p:cNvPicPr>
          <p:nvPr/>
        </p:nvPicPr>
        <p:blipFill>
          <a:blip r:embed="rId29">
            <a:extLst>
              <a:ext uri="{96DAC541-7B7A-43D3-8B79-37D633B846F1}">
                <asvg:svgBlip xmlns="" xmlns:asvg="http://schemas.microsoft.com/office/drawing/2016/SVG/main" r:embed="rId30"/>
              </a:ext>
            </a:extLst>
          </a:blip>
          <a:srcRect/>
          <a:stretch/>
        </p:blipFill>
        <p:spPr>
          <a:xfrm>
            <a:off x="10566400" y="3053203"/>
            <a:ext cx="1193800" cy="349251"/>
          </a:xfrm>
          <a:prstGeom prst="rect">
            <a:avLst/>
          </a:prstGeom>
        </p:spPr>
      </p:pic>
      <p:pic>
        <p:nvPicPr>
          <p:cNvPr id="21" name="Bullit" descr="preencoded.png"/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="" xmlns:asvg="http://schemas.microsoft.com/office/drawing/2016/SVG/main" r:embed="rId20"/>
              </a:ext>
            </a:extLst>
          </a:blip>
          <a:srcRect/>
          <a:stretch/>
        </p:blipFill>
        <p:spPr>
          <a:xfrm>
            <a:off x="8382001" y="3554852"/>
            <a:ext cx="38100" cy="171451"/>
          </a:xfrm>
          <a:prstGeom prst="rect">
            <a:avLst/>
          </a:prstGeom>
        </p:spPr>
      </p:pic>
      <p:pic>
        <p:nvPicPr>
          <p:cNvPr id="22" name="Bullit" descr="preencoded.png"/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="" xmlns:asvg="http://schemas.microsoft.com/office/drawing/2016/SVG/main" r:embed="rId20"/>
              </a:ext>
            </a:extLst>
          </a:blip>
          <a:srcRect/>
          <a:stretch/>
        </p:blipFill>
        <p:spPr>
          <a:xfrm>
            <a:off x="8382001" y="3777103"/>
            <a:ext cx="38100" cy="171451"/>
          </a:xfrm>
          <a:prstGeom prst="rect">
            <a:avLst/>
          </a:prstGeom>
        </p:spPr>
      </p:pic>
      <p:sp>
        <p:nvSpPr>
          <p:cNvPr id="24" name="-"/>
          <p:cNvSpPr/>
          <p:nvPr/>
        </p:nvSpPr>
        <p:spPr>
          <a:xfrm>
            <a:off x="254000" y="984251"/>
            <a:ext cx="11760200" cy="838200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defTabSz="609585" rtl="0">
              <a:lnSpc>
                <a:spcPct val="91667"/>
              </a:lnSpc>
            </a:pPr>
            <a:endParaRPr lang="en-US" sz="3000" kern="1200" dirty="0">
              <a:solidFill>
                <a:prstClr val="black"/>
              </a:solidFill>
              <a:latin typeface="Calibri" panose="020F0502020204030204"/>
              <a:cs typeface="Arial"/>
              <a:sym typeface="Arial"/>
            </a:endParaRPr>
          </a:p>
        </p:txBody>
      </p:sp>
      <p:sp>
        <p:nvSpPr>
          <p:cNvPr id="31" name="Rubbles Customer Insight"/>
          <p:cNvSpPr/>
          <p:nvPr/>
        </p:nvSpPr>
        <p:spPr>
          <a:xfrm>
            <a:off x="254000" y="2362200"/>
            <a:ext cx="3632200" cy="254000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defTabSz="609585" rtl="0">
              <a:lnSpc>
                <a:spcPct val="91667"/>
              </a:lnSpc>
            </a:pPr>
            <a:endParaRPr lang="en-US" sz="1800" kern="1200" dirty="0">
              <a:solidFill>
                <a:prstClr val="black"/>
              </a:solidFill>
              <a:latin typeface="Calibri" panose="020F0502020204030204"/>
              <a:cs typeface="Arial"/>
              <a:sym typeface="Arial"/>
            </a:endParaRPr>
          </a:p>
        </p:txBody>
      </p:sp>
      <p:sp>
        <p:nvSpPr>
          <p:cNvPr id="32" name="Text 9"/>
          <p:cNvSpPr/>
          <p:nvPr/>
        </p:nvSpPr>
        <p:spPr>
          <a:xfrm>
            <a:off x="254000" y="2186729"/>
            <a:ext cx="3632200" cy="292100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defTabSz="609585" rtl="0">
              <a:lnSpc>
                <a:spcPct val="91667"/>
              </a:lnSpc>
            </a:pPr>
            <a:r>
              <a:rPr lang="en-US" sz="1333" b="1" kern="1200" dirty="0" err="1">
                <a:solidFill>
                  <a:srgbClr val="000000"/>
                </a:solidFill>
                <a:latin typeface="MTS Text Regular" pitchFamily="34" charset="0"/>
                <a:ea typeface="MTS Text Regular" pitchFamily="34" charset="-122"/>
                <a:cs typeface="MTS Text Regular" pitchFamily="34" charset="-120"/>
                <a:sym typeface="Arial"/>
              </a:rPr>
              <a:t>Набор</a:t>
            </a:r>
            <a:r>
              <a:rPr lang="en-US" sz="1333" b="1" kern="1200" dirty="0">
                <a:solidFill>
                  <a:srgbClr val="000000"/>
                </a:solidFill>
                <a:latin typeface="MTS Text Regular" pitchFamily="34" charset="0"/>
                <a:ea typeface="MTS Text Regular" pitchFamily="34" charset="-122"/>
                <a:cs typeface="MTS Text Regular" pitchFamily="34" charset="-120"/>
                <a:sym typeface="Arial"/>
              </a:rPr>
              <a:t> </a:t>
            </a:r>
            <a:r>
              <a:rPr lang="ru-RU" sz="1333" b="1" kern="1200" dirty="0">
                <a:solidFill>
                  <a:srgbClr val="000000"/>
                </a:solidFill>
                <a:latin typeface="MTS Text Regular" pitchFamily="34" charset="0"/>
                <a:ea typeface="MTS Text Regular" pitchFamily="34" charset="-122"/>
                <a:cs typeface="MTS Text Regular" pitchFamily="34" charset="-120"/>
                <a:sym typeface="Arial"/>
              </a:rPr>
              <a:t>решений</a:t>
            </a:r>
            <a:r>
              <a:rPr lang="en-US" sz="1333" b="1" kern="1200" dirty="0">
                <a:solidFill>
                  <a:srgbClr val="000000"/>
                </a:solidFill>
                <a:latin typeface="MTS Text Regular" pitchFamily="34" charset="0"/>
                <a:ea typeface="MTS Text Regular" pitchFamily="34" charset="-122"/>
                <a:cs typeface="MTS Text Regular" pitchFamily="34" charset="-120"/>
                <a:sym typeface="Arial"/>
              </a:rPr>
              <a:t>/</a:t>
            </a:r>
            <a:r>
              <a:rPr lang="ru-RU" sz="1333" b="1" kern="1200" dirty="0">
                <a:solidFill>
                  <a:srgbClr val="000000"/>
                </a:solidFill>
                <a:latin typeface="MTS Text Regular" pitchFamily="34" charset="0"/>
                <a:ea typeface="MTS Text Regular" pitchFamily="34" charset="-122"/>
                <a:cs typeface="MTS Text Regular" pitchFamily="34" charset="-120"/>
                <a:sym typeface="Arial"/>
              </a:rPr>
              <a:t>платформ для сбора, передачи и </a:t>
            </a:r>
            <a:r>
              <a:rPr lang="ru-RU" sz="1333" b="1" kern="1200" dirty="0" err="1">
                <a:solidFill>
                  <a:srgbClr val="000000"/>
                </a:solidFill>
                <a:latin typeface="MTS Text Regular" pitchFamily="34" charset="0"/>
                <a:ea typeface="MTS Text Regular" pitchFamily="34" charset="-122"/>
                <a:cs typeface="MTS Text Regular" pitchFamily="34" charset="-120"/>
                <a:sym typeface="Arial"/>
              </a:rPr>
              <a:t>визуалиации</a:t>
            </a:r>
            <a:r>
              <a:rPr lang="ru-RU" sz="1333" b="1" kern="1200" dirty="0">
                <a:solidFill>
                  <a:srgbClr val="000000"/>
                </a:solidFill>
                <a:latin typeface="MTS Text Regular" pitchFamily="34" charset="0"/>
                <a:ea typeface="MTS Text Regular" pitchFamily="34" charset="-122"/>
                <a:cs typeface="MTS Text Regular" pitchFamily="34" charset="-120"/>
                <a:sym typeface="Arial"/>
              </a:rPr>
              <a:t> промышленных данных</a:t>
            </a:r>
            <a:endParaRPr lang="en-US" sz="1333" b="1" kern="1200" dirty="0">
              <a:solidFill>
                <a:prstClr val="black"/>
              </a:solidFill>
              <a:latin typeface="Calibri" panose="020F0502020204030204"/>
              <a:cs typeface="Arial"/>
              <a:sym typeface="Arial"/>
            </a:endParaRPr>
          </a:p>
        </p:txBody>
      </p:sp>
      <p:sp>
        <p:nvSpPr>
          <p:cNvPr id="37" name="aCRM"/>
          <p:cNvSpPr/>
          <p:nvPr/>
        </p:nvSpPr>
        <p:spPr>
          <a:xfrm>
            <a:off x="393701" y="3872352"/>
            <a:ext cx="2381249" cy="218779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defTabSz="609585" rtl="0">
              <a:lnSpc>
                <a:spcPct val="91667"/>
              </a:lnSpc>
            </a:pPr>
            <a:r>
              <a:rPr lang="ru-RU" sz="1065" kern="1200" dirty="0">
                <a:solidFill>
                  <a:srgbClr val="000000"/>
                </a:solidFill>
                <a:latin typeface="MTS Text Regular" pitchFamily="34" charset="0"/>
                <a:ea typeface="MTS Text Regular" pitchFamily="34" charset="-122"/>
                <a:cs typeface="MTS Text Regular" pitchFamily="34" charset="-120"/>
                <a:sym typeface="Arial"/>
              </a:rPr>
              <a:t>Системы управления зданиями</a:t>
            </a:r>
            <a:endParaRPr lang="en-US" sz="1065" kern="1200" dirty="0">
              <a:solidFill>
                <a:prstClr val="black"/>
              </a:solidFill>
              <a:latin typeface="Calibri" panose="020F0502020204030204"/>
              <a:cs typeface="Arial"/>
              <a:sym typeface="Arial"/>
            </a:endParaRPr>
          </a:p>
        </p:txBody>
      </p:sp>
      <p:sp>
        <p:nvSpPr>
          <p:cNvPr id="38" name="Text 15"/>
          <p:cNvSpPr/>
          <p:nvPr/>
        </p:nvSpPr>
        <p:spPr>
          <a:xfrm>
            <a:off x="393701" y="4094603"/>
            <a:ext cx="3492500" cy="146051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defTabSz="609585" rtl="0">
              <a:lnSpc>
                <a:spcPct val="91667"/>
              </a:lnSpc>
            </a:pPr>
            <a:r>
              <a:rPr lang="ru-RU" sz="1065" kern="1200" dirty="0">
                <a:solidFill>
                  <a:srgbClr val="000000"/>
                </a:solidFill>
                <a:latin typeface="MTS Text Regular" pitchFamily="34" charset="0"/>
                <a:ea typeface="MTS Text Regular" pitchFamily="34" charset="-122"/>
                <a:cs typeface="MTS Text Regular" pitchFamily="34" charset="-120"/>
                <a:sym typeface="Arial"/>
              </a:rPr>
              <a:t>Управление энергоресурсами</a:t>
            </a:r>
            <a:r>
              <a:rPr lang="en-US" sz="1065" kern="1200" dirty="0">
                <a:solidFill>
                  <a:srgbClr val="000000"/>
                </a:solidFill>
                <a:latin typeface="MTS Text Regular" pitchFamily="34" charset="0"/>
                <a:ea typeface="MTS Text Regular" pitchFamily="34" charset="-122"/>
                <a:cs typeface="MTS Text Regular" pitchFamily="34" charset="-120"/>
                <a:sym typeface="Arial"/>
              </a:rPr>
              <a:t>/</a:t>
            </a:r>
            <a:r>
              <a:rPr lang="ru-RU" sz="1065" kern="1200" dirty="0" err="1">
                <a:solidFill>
                  <a:srgbClr val="000000"/>
                </a:solidFill>
                <a:latin typeface="MTS Text Regular" pitchFamily="34" charset="0"/>
                <a:ea typeface="MTS Text Regular" pitchFamily="34" charset="-122"/>
                <a:cs typeface="MTS Text Regular" pitchFamily="34" charset="-120"/>
                <a:sym typeface="Arial"/>
              </a:rPr>
              <a:t>энергоаналитика</a:t>
            </a:r>
            <a:endParaRPr lang="en-US" sz="1065" kern="1200" dirty="0">
              <a:solidFill>
                <a:prstClr val="black"/>
              </a:solidFill>
              <a:latin typeface="Calibri" panose="020F0502020204030204"/>
              <a:cs typeface="Arial"/>
              <a:sym typeface="Arial"/>
            </a:endParaRPr>
          </a:p>
        </p:txBody>
      </p:sp>
      <p:sp>
        <p:nvSpPr>
          <p:cNvPr id="39" name="Text 16"/>
          <p:cNvSpPr/>
          <p:nvPr/>
        </p:nvSpPr>
        <p:spPr>
          <a:xfrm>
            <a:off x="254000" y="4814450"/>
            <a:ext cx="831851" cy="317500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defTabSz="609585" rtl="0">
              <a:lnSpc>
                <a:spcPct val="91667"/>
              </a:lnSpc>
            </a:pPr>
            <a:r>
              <a:rPr lang="ru-RU" sz="1065" kern="1200" dirty="0">
                <a:solidFill>
                  <a:srgbClr val="000000"/>
                </a:solidFill>
                <a:latin typeface="MTS Text Regular" pitchFamily="34" charset="0"/>
                <a:ea typeface="MTS Text Regular" pitchFamily="34" charset="-122"/>
                <a:cs typeface="MTS Text Regular" pitchFamily="34" charset="-120"/>
                <a:sym typeface="Arial"/>
              </a:rPr>
              <a:t>Снижение потерь</a:t>
            </a:r>
            <a:endParaRPr lang="en-US" sz="1065" kern="1200" dirty="0">
              <a:solidFill>
                <a:prstClr val="black"/>
              </a:solidFill>
              <a:latin typeface="Calibri" panose="020F0502020204030204"/>
              <a:cs typeface="Arial"/>
              <a:sym typeface="Arial"/>
            </a:endParaRPr>
          </a:p>
        </p:txBody>
      </p:sp>
      <p:sp>
        <p:nvSpPr>
          <p:cNvPr id="40" name="15"/>
          <p:cNvSpPr/>
          <p:nvPr/>
        </p:nvSpPr>
        <p:spPr>
          <a:xfrm>
            <a:off x="254000" y="5170049"/>
            <a:ext cx="831851" cy="254000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defTabSz="609585" rtl="0">
              <a:lnSpc>
                <a:spcPct val="91667"/>
              </a:lnSpc>
            </a:pPr>
            <a:r>
              <a:rPr lang="en-US" sz="1800" kern="1200" dirty="0">
                <a:solidFill>
                  <a:srgbClr val="000000"/>
                </a:solidFill>
                <a:latin typeface="MTS Text Medium" pitchFamily="34" charset="0"/>
                <a:ea typeface="MTS Text Medium" pitchFamily="34" charset="-122"/>
                <a:cs typeface="MTS Text Medium" pitchFamily="34" charset="-120"/>
                <a:sym typeface="Arial"/>
              </a:rPr>
              <a:t>до 15%</a:t>
            </a:r>
            <a:endParaRPr lang="en-US" sz="1800" kern="1200" dirty="0">
              <a:solidFill>
                <a:prstClr val="black"/>
              </a:solidFill>
              <a:latin typeface="Calibri" panose="020F0502020204030204"/>
              <a:cs typeface="Arial"/>
              <a:sym typeface="Arial"/>
            </a:endParaRPr>
          </a:p>
        </p:txBody>
      </p:sp>
      <p:sp>
        <p:nvSpPr>
          <p:cNvPr id="41" name="Text 18"/>
          <p:cNvSpPr/>
          <p:nvPr/>
        </p:nvSpPr>
        <p:spPr>
          <a:xfrm>
            <a:off x="4318001" y="4749797"/>
            <a:ext cx="1073151" cy="317500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defTabSz="609585" rtl="0">
              <a:lnSpc>
                <a:spcPct val="91667"/>
              </a:lnSpc>
            </a:pPr>
            <a:r>
              <a:rPr lang="en-US" sz="1065" kern="1200" dirty="0">
                <a:solidFill>
                  <a:srgbClr val="000000"/>
                </a:solidFill>
                <a:latin typeface="MTS Text Regular" pitchFamily="34" charset="0"/>
                <a:ea typeface="MTS Text Regular" pitchFamily="34" charset="-122"/>
                <a:cs typeface="MTS Text Regular" pitchFamily="34" charset="-120"/>
                <a:sym typeface="Arial"/>
              </a:rPr>
              <a:t>Рост валовой прибыли</a:t>
            </a:r>
            <a:endParaRPr lang="en-US" sz="1065" kern="1200" dirty="0">
              <a:solidFill>
                <a:prstClr val="black"/>
              </a:solidFill>
              <a:latin typeface="Calibri" panose="020F0502020204030204"/>
              <a:cs typeface="Arial"/>
              <a:sym typeface="Arial"/>
            </a:endParaRPr>
          </a:p>
        </p:txBody>
      </p:sp>
      <p:sp>
        <p:nvSpPr>
          <p:cNvPr id="42" name="name_1-2"/>
          <p:cNvSpPr/>
          <p:nvPr/>
        </p:nvSpPr>
        <p:spPr>
          <a:xfrm>
            <a:off x="4318001" y="5105396"/>
            <a:ext cx="1073151" cy="254000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defTabSz="609585" rtl="0">
              <a:lnSpc>
                <a:spcPct val="91667"/>
              </a:lnSpc>
            </a:pPr>
            <a:r>
              <a:rPr lang="en-US" sz="1800" kern="1200" dirty="0">
                <a:solidFill>
                  <a:srgbClr val="000000"/>
                </a:solidFill>
                <a:latin typeface="MTS Text Medium" pitchFamily="34" charset="0"/>
                <a:ea typeface="MTS Text Medium" pitchFamily="34" charset="-122"/>
                <a:cs typeface="MTS Text Medium" pitchFamily="34" charset="-120"/>
                <a:sym typeface="Arial"/>
              </a:rPr>
              <a:t>1-2%</a:t>
            </a:r>
            <a:endParaRPr lang="en-US" sz="1800" kern="1200" dirty="0">
              <a:solidFill>
                <a:prstClr val="black"/>
              </a:solidFill>
              <a:latin typeface="Calibri" panose="020F0502020204030204"/>
              <a:cs typeface="Arial"/>
              <a:sym typeface="Arial"/>
            </a:endParaRPr>
          </a:p>
        </p:txBody>
      </p:sp>
      <p:sp>
        <p:nvSpPr>
          <p:cNvPr id="43" name="Text 20"/>
          <p:cNvSpPr/>
          <p:nvPr/>
        </p:nvSpPr>
        <p:spPr>
          <a:xfrm>
            <a:off x="8382001" y="4768269"/>
            <a:ext cx="1479551" cy="317500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defTabSz="609585" rtl="0">
              <a:lnSpc>
                <a:spcPct val="91667"/>
              </a:lnSpc>
            </a:pPr>
            <a:r>
              <a:rPr lang="en-US" sz="1065" kern="1200" dirty="0">
                <a:solidFill>
                  <a:srgbClr val="000000"/>
                </a:solidFill>
                <a:latin typeface="MTS Text Regular" pitchFamily="34" charset="0"/>
                <a:ea typeface="MTS Text Regular" pitchFamily="34" charset="-122"/>
                <a:cs typeface="MTS Text Regular" pitchFamily="34" charset="-120"/>
                <a:sym typeface="Arial"/>
              </a:rPr>
              <a:t>Увеличение производительности</a:t>
            </a:r>
            <a:endParaRPr lang="en-US" sz="1065" kern="1200" dirty="0">
              <a:solidFill>
                <a:prstClr val="black"/>
              </a:solidFill>
              <a:latin typeface="Calibri" panose="020F0502020204030204"/>
              <a:cs typeface="Arial"/>
              <a:sym typeface="Arial"/>
            </a:endParaRPr>
          </a:p>
        </p:txBody>
      </p:sp>
      <p:sp>
        <p:nvSpPr>
          <p:cNvPr id="44" name="5"/>
          <p:cNvSpPr/>
          <p:nvPr/>
        </p:nvSpPr>
        <p:spPr>
          <a:xfrm>
            <a:off x="8382001" y="5123868"/>
            <a:ext cx="1479551" cy="254000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defTabSz="609585" rtl="0">
              <a:lnSpc>
                <a:spcPct val="91667"/>
              </a:lnSpc>
            </a:pPr>
            <a:r>
              <a:rPr lang="en-US" sz="1800" kern="1200" dirty="0">
                <a:solidFill>
                  <a:srgbClr val="000000"/>
                </a:solidFill>
                <a:latin typeface="MTS Text Medium" pitchFamily="34" charset="0"/>
                <a:ea typeface="MTS Text Medium" pitchFamily="34" charset="-122"/>
                <a:cs typeface="MTS Text Medium" pitchFamily="34" charset="-120"/>
                <a:sym typeface="Arial"/>
              </a:rPr>
              <a:t>до 5%</a:t>
            </a:r>
            <a:endParaRPr lang="en-US" sz="1800" kern="1200" dirty="0">
              <a:solidFill>
                <a:prstClr val="black"/>
              </a:solidFill>
              <a:latin typeface="Calibri" panose="020F0502020204030204"/>
              <a:cs typeface="Arial"/>
              <a:sym typeface="Arial"/>
            </a:endParaRPr>
          </a:p>
        </p:txBody>
      </p:sp>
      <p:sp>
        <p:nvSpPr>
          <p:cNvPr id="45" name="Text 22"/>
          <p:cNvSpPr/>
          <p:nvPr/>
        </p:nvSpPr>
        <p:spPr>
          <a:xfrm>
            <a:off x="1765300" y="4827150"/>
            <a:ext cx="1270000" cy="292100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defTabSz="609585" rtl="0">
              <a:lnSpc>
                <a:spcPct val="91667"/>
              </a:lnSpc>
            </a:pPr>
            <a:r>
              <a:rPr lang="en-US" sz="1065" kern="1200" dirty="0" err="1">
                <a:solidFill>
                  <a:srgbClr val="000000"/>
                </a:solidFill>
                <a:latin typeface="MTS Text Regular" pitchFamily="34" charset="0"/>
                <a:ea typeface="MTS Text Regular" pitchFamily="34" charset="-122"/>
                <a:cs typeface="MTS Text Regular" pitchFamily="34" charset="-120"/>
                <a:sym typeface="Arial"/>
              </a:rPr>
              <a:t>Рост</a:t>
            </a:r>
            <a:r>
              <a:rPr lang="en-US" sz="1065" kern="1200" dirty="0">
                <a:solidFill>
                  <a:srgbClr val="000000"/>
                </a:solidFill>
                <a:latin typeface="MTS Text Regular" pitchFamily="34" charset="0"/>
                <a:ea typeface="MTS Text Regular" pitchFamily="34" charset="-122"/>
                <a:cs typeface="MTS Text Regular" pitchFamily="34" charset="-120"/>
                <a:sym typeface="Arial"/>
              </a:rPr>
              <a:t> </a:t>
            </a:r>
            <a:r>
              <a:rPr lang="ru-RU" sz="1065" kern="1200" dirty="0">
                <a:solidFill>
                  <a:srgbClr val="000000"/>
                </a:solidFill>
                <a:latin typeface="MTS Text Regular" pitchFamily="34" charset="0"/>
                <a:ea typeface="MTS Text Regular" pitchFamily="34" charset="-122"/>
                <a:cs typeface="MTS Text Regular" pitchFamily="34" charset="-120"/>
                <a:sym typeface="Arial"/>
              </a:rPr>
              <a:t>эффективности</a:t>
            </a:r>
            <a:endParaRPr lang="en-US" sz="1065" kern="1200" dirty="0">
              <a:solidFill>
                <a:prstClr val="black"/>
              </a:solidFill>
              <a:latin typeface="Calibri" panose="020F0502020204030204"/>
              <a:cs typeface="Arial"/>
              <a:sym typeface="Arial"/>
            </a:endParaRPr>
          </a:p>
        </p:txBody>
      </p:sp>
      <p:sp>
        <p:nvSpPr>
          <p:cNvPr id="46" name="75"/>
          <p:cNvSpPr/>
          <p:nvPr/>
        </p:nvSpPr>
        <p:spPr>
          <a:xfrm>
            <a:off x="1765300" y="5170049"/>
            <a:ext cx="1270000" cy="254000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defTabSz="609585" rtl="0">
              <a:lnSpc>
                <a:spcPct val="91667"/>
              </a:lnSpc>
            </a:pPr>
            <a:r>
              <a:rPr lang="en-US" sz="1800" kern="1200" dirty="0" err="1">
                <a:solidFill>
                  <a:srgbClr val="000000"/>
                </a:solidFill>
                <a:latin typeface="MTS Text Medium" pitchFamily="34" charset="0"/>
                <a:ea typeface="MTS Text Medium" pitchFamily="34" charset="-122"/>
                <a:cs typeface="MTS Text Medium" pitchFamily="34" charset="-120"/>
                <a:sym typeface="Arial"/>
              </a:rPr>
              <a:t>до</a:t>
            </a:r>
            <a:r>
              <a:rPr lang="en-US" sz="1800" kern="1200" dirty="0">
                <a:solidFill>
                  <a:srgbClr val="000000"/>
                </a:solidFill>
                <a:latin typeface="MTS Text Medium" pitchFamily="34" charset="0"/>
                <a:ea typeface="MTS Text Medium" pitchFamily="34" charset="-122"/>
                <a:cs typeface="MTS Text Medium" pitchFamily="34" charset="-120"/>
                <a:sym typeface="Arial"/>
              </a:rPr>
              <a:t> </a:t>
            </a:r>
            <a:r>
              <a:rPr lang="ru-RU" sz="1800" kern="1200" dirty="0">
                <a:solidFill>
                  <a:srgbClr val="000000"/>
                </a:solidFill>
                <a:latin typeface="MTS Text Medium" pitchFamily="34" charset="0"/>
                <a:ea typeface="MTS Text Medium" pitchFamily="34" charset="-122"/>
                <a:cs typeface="MTS Text Medium" pitchFamily="34" charset="-120"/>
                <a:sym typeface="Arial"/>
              </a:rPr>
              <a:t>10</a:t>
            </a:r>
            <a:r>
              <a:rPr lang="en-US" sz="1800" kern="1200" dirty="0">
                <a:solidFill>
                  <a:srgbClr val="000000"/>
                </a:solidFill>
                <a:latin typeface="MTS Text Medium" pitchFamily="34" charset="0"/>
                <a:ea typeface="MTS Text Medium" pitchFamily="34" charset="-122"/>
                <a:cs typeface="MTS Text Medium" pitchFamily="34" charset="-120"/>
                <a:sym typeface="Arial"/>
              </a:rPr>
              <a:t>%</a:t>
            </a:r>
            <a:endParaRPr lang="en-US" sz="1800" kern="1200" dirty="0">
              <a:solidFill>
                <a:prstClr val="black"/>
              </a:solidFill>
              <a:latin typeface="Calibri" panose="020F0502020204030204"/>
              <a:cs typeface="Arial"/>
              <a:sym typeface="Arial"/>
            </a:endParaRPr>
          </a:p>
        </p:txBody>
      </p:sp>
      <p:sp>
        <p:nvSpPr>
          <p:cNvPr id="47" name="Rubbles Planning Force"/>
          <p:cNvSpPr/>
          <p:nvPr/>
        </p:nvSpPr>
        <p:spPr>
          <a:xfrm>
            <a:off x="4318000" y="2362200"/>
            <a:ext cx="3632200" cy="254000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defTabSz="609585" rtl="0">
              <a:lnSpc>
                <a:spcPct val="91667"/>
              </a:lnSpc>
            </a:pPr>
            <a:endParaRPr lang="en-US" sz="1800" kern="1200" dirty="0">
              <a:solidFill>
                <a:prstClr val="black"/>
              </a:solidFill>
              <a:latin typeface="Calibri" panose="020F0502020204030204"/>
              <a:cs typeface="Arial"/>
              <a:sym typeface="Arial"/>
            </a:endParaRPr>
          </a:p>
        </p:txBody>
      </p:sp>
      <p:sp>
        <p:nvSpPr>
          <p:cNvPr id="48" name="-  SOP"/>
          <p:cNvSpPr/>
          <p:nvPr/>
        </p:nvSpPr>
        <p:spPr>
          <a:xfrm>
            <a:off x="4318000" y="2186729"/>
            <a:ext cx="3632200" cy="292100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defTabSz="609585" rtl="0">
              <a:lnSpc>
                <a:spcPct val="91667"/>
              </a:lnSpc>
            </a:pPr>
            <a:r>
              <a:rPr lang="en-US" sz="1333" b="1" kern="1200" dirty="0">
                <a:solidFill>
                  <a:srgbClr val="000000"/>
                </a:solidFill>
                <a:latin typeface="MTS Text Regular" pitchFamily="34" charset="0"/>
                <a:ea typeface="MTS Text Regular" pitchFamily="34" charset="-122"/>
                <a:cs typeface="MTS Text Regular" pitchFamily="34" charset="-120"/>
                <a:sym typeface="Arial"/>
              </a:rPr>
              <a:t>Набор приложений для интегрированного бизнес-планирования и S&amp;OP </a:t>
            </a:r>
            <a:endParaRPr lang="en-US" sz="1333" b="1" kern="1200" dirty="0">
              <a:solidFill>
                <a:prstClr val="black"/>
              </a:solidFill>
              <a:latin typeface="Calibri" panose="020F0502020204030204"/>
              <a:cs typeface="Arial"/>
              <a:sym typeface="Arial"/>
            </a:endParaRPr>
          </a:p>
        </p:txBody>
      </p:sp>
      <p:sp>
        <p:nvSpPr>
          <p:cNvPr id="49" name="1"/>
          <p:cNvSpPr/>
          <p:nvPr/>
        </p:nvSpPr>
        <p:spPr>
          <a:xfrm>
            <a:off x="4464051" y="3046852"/>
            <a:ext cx="1130300" cy="146051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algn="ctr" defTabSz="609585" rtl="0">
              <a:lnSpc>
                <a:spcPct val="91667"/>
              </a:lnSpc>
            </a:pPr>
            <a:r>
              <a:rPr lang="en-US" sz="1065" kern="1200" dirty="0">
                <a:solidFill>
                  <a:srgbClr val="000000"/>
                </a:solidFill>
                <a:latin typeface="MTS Wide Medium" pitchFamily="34" charset="0"/>
                <a:ea typeface="MTS Wide Medium" pitchFamily="34" charset="-122"/>
                <a:cs typeface="MTS Wide Medium" pitchFamily="34" charset="-120"/>
                <a:sym typeface="Arial"/>
              </a:rPr>
              <a:t>Производство</a:t>
            </a:r>
            <a:endParaRPr lang="en-US" sz="1065" kern="1200" dirty="0">
              <a:solidFill>
                <a:prstClr val="black"/>
              </a:solidFill>
              <a:latin typeface="Calibri" panose="020F0502020204030204"/>
              <a:cs typeface="Arial"/>
              <a:sym typeface="Arial"/>
            </a:endParaRPr>
          </a:p>
        </p:txBody>
      </p:sp>
      <p:sp>
        <p:nvSpPr>
          <p:cNvPr id="50" name="1"/>
          <p:cNvSpPr/>
          <p:nvPr/>
        </p:nvSpPr>
        <p:spPr>
          <a:xfrm>
            <a:off x="5949951" y="3046852"/>
            <a:ext cx="565151" cy="146051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algn="ctr" defTabSz="609585" rtl="0">
              <a:lnSpc>
                <a:spcPct val="91667"/>
              </a:lnSpc>
            </a:pPr>
            <a:r>
              <a:rPr lang="en-US" sz="1065" kern="1200" dirty="0">
                <a:solidFill>
                  <a:srgbClr val="000000"/>
                </a:solidFill>
                <a:latin typeface="MTS Wide Medium" pitchFamily="34" charset="0"/>
                <a:ea typeface="MTS Wide Medium" pitchFamily="34" charset="-122"/>
                <a:cs typeface="MTS Wide Medium" pitchFamily="34" charset="-120"/>
                <a:sym typeface="Arial"/>
              </a:rPr>
              <a:t>Ретейл</a:t>
            </a:r>
            <a:endParaRPr lang="en-US" sz="1065" kern="1200" dirty="0">
              <a:solidFill>
                <a:prstClr val="black"/>
              </a:solidFill>
              <a:latin typeface="Calibri" panose="020F0502020204030204"/>
              <a:cs typeface="Arial"/>
              <a:sym typeface="Arial"/>
            </a:endParaRPr>
          </a:p>
        </p:txBody>
      </p:sp>
      <p:sp>
        <p:nvSpPr>
          <p:cNvPr id="51" name="1"/>
          <p:cNvSpPr/>
          <p:nvPr/>
        </p:nvSpPr>
        <p:spPr>
          <a:xfrm>
            <a:off x="4464051" y="3459603"/>
            <a:ext cx="558800" cy="146051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algn="ctr" defTabSz="609585" rtl="0">
              <a:lnSpc>
                <a:spcPct val="91667"/>
              </a:lnSpc>
            </a:pPr>
            <a:r>
              <a:rPr lang="en-US" sz="1065" kern="1200" dirty="0">
                <a:solidFill>
                  <a:srgbClr val="000000"/>
                </a:solidFill>
                <a:latin typeface="MTS Wide Medium" pitchFamily="34" charset="0"/>
                <a:ea typeface="MTS Wide Medium" pitchFamily="34" charset="-122"/>
                <a:cs typeface="MTS Wide Medium" pitchFamily="34" charset="-120"/>
                <a:sym typeface="Arial"/>
              </a:rPr>
              <a:t>Фарма</a:t>
            </a:r>
            <a:endParaRPr lang="en-US" sz="1065" kern="1200" dirty="0">
              <a:solidFill>
                <a:prstClr val="black"/>
              </a:solidFill>
              <a:latin typeface="Calibri" panose="020F0502020204030204"/>
              <a:cs typeface="Arial"/>
              <a:sym typeface="Arial"/>
            </a:endParaRPr>
          </a:p>
        </p:txBody>
      </p:sp>
      <p:sp>
        <p:nvSpPr>
          <p:cNvPr id="52" name="1"/>
          <p:cNvSpPr/>
          <p:nvPr/>
        </p:nvSpPr>
        <p:spPr>
          <a:xfrm>
            <a:off x="5365751" y="3459603"/>
            <a:ext cx="374651" cy="146051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algn="ctr" defTabSz="609585" rtl="0">
              <a:lnSpc>
                <a:spcPct val="91667"/>
              </a:lnSpc>
            </a:pPr>
            <a:r>
              <a:rPr lang="en-US" sz="1065" kern="1200" dirty="0">
                <a:solidFill>
                  <a:srgbClr val="000000"/>
                </a:solidFill>
                <a:latin typeface="MTS Wide Medium" pitchFamily="34" charset="0"/>
                <a:ea typeface="MTS Wide Medium" pitchFamily="34" charset="-122"/>
                <a:cs typeface="MTS Wide Medium" pitchFamily="34" charset="-120"/>
                <a:sym typeface="Arial"/>
              </a:rPr>
              <a:t>QSR</a:t>
            </a:r>
            <a:endParaRPr lang="en-US" sz="1065" kern="1200" dirty="0">
              <a:solidFill>
                <a:prstClr val="black"/>
              </a:solidFill>
              <a:latin typeface="Calibri" panose="020F0502020204030204"/>
              <a:cs typeface="Arial"/>
              <a:sym typeface="Arial"/>
            </a:endParaRPr>
          </a:p>
        </p:txBody>
      </p:sp>
      <p:sp>
        <p:nvSpPr>
          <p:cNvPr id="53" name="Text 30"/>
          <p:cNvSpPr/>
          <p:nvPr/>
        </p:nvSpPr>
        <p:spPr>
          <a:xfrm>
            <a:off x="4457701" y="3872352"/>
            <a:ext cx="3492500" cy="146051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defTabSz="609585" rtl="0">
              <a:lnSpc>
                <a:spcPct val="91667"/>
              </a:lnSpc>
            </a:pPr>
            <a:r>
              <a:rPr lang="en-US" sz="1065" kern="1200" dirty="0">
                <a:solidFill>
                  <a:srgbClr val="000000"/>
                </a:solidFill>
                <a:latin typeface="MTS Text Regular" pitchFamily="34" charset="0"/>
                <a:ea typeface="MTS Text Regular" pitchFamily="34" charset="-122"/>
                <a:cs typeface="MTS Text Regular" pitchFamily="34" charset="-120"/>
                <a:sym typeface="Arial"/>
              </a:rPr>
              <a:t>Прогноз спроса и планирование продаж</a:t>
            </a:r>
            <a:endParaRPr lang="en-US" sz="1065" kern="1200" dirty="0">
              <a:solidFill>
                <a:prstClr val="black"/>
              </a:solidFill>
              <a:latin typeface="Calibri" panose="020F0502020204030204"/>
              <a:cs typeface="Arial"/>
              <a:sym typeface="Arial"/>
            </a:endParaRPr>
          </a:p>
        </p:txBody>
      </p:sp>
      <p:sp>
        <p:nvSpPr>
          <p:cNvPr id="54" name="Text 31"/>
          <p:cNvSpPr/>
          <p:nvPr/>
        </p:nvSpPr>
        <p:spPr>
          <a:xfrm>
            <a:off x="4457701" y="4094603"/>
            <a:ext cx="3492500" cy="146051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defTabSz="609585" rtl="0">
              <a:lnSpc>
                <a:spcPct val="91667"/>
              </a:lnSpc>
            </a:pPr>
            <a:r>
              <a:rPr lang="en-US" sz="1065" kern="1200" dirty="0">
                <a:solidFill>
                  <a:srgbClr val="000000"/>
                </a:solidFill>
                <a:latin typeface="MTS Text Regular" pitchFamily="34" charset="0"/>
                <a:ea typeface="MTS Text Regular" pitchFamily="34" charset="-122"/>
                <a:cs typeface="MTS Text Regular" pitchFamily="34" charset="-120"/>
                <a:sym typeface="Arial"/>
              </a:rPr>
              <a:t>Планирование производства и логистики</a:t>
            </a:r>
            <a:endParaRPr lang="en-US" sz="1065" kern="1200" dirty="0">
              <a:solidFill>
                <a:prstClr val="black"/>
              </a:solidFill>
              <a:latin typeface="Calibri" panose="020F0502020204030204"/>
              <a:cs typeface="Arial"/>
              <a:sym typeface="Arial"/>
            </a:endParaRPr>
          </a:p>
        </p:txBody>
      </p:sp>
      <p:sp>
        <p:nvSpPr>
          <p:cNvPr id="55" name="RD"/>
          <p:cNvSpPr/>
          <p:nvPr/>
        </p:nvSpPr>
        <p:spPr>
          <a:xfrm>
            <a:off x="8382000" y="2362200"/>
            <a:ext cx="3632200" cy="508000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defTabSz="609585" rtl="0">
              <a:lnSpc>
                <a:spcPct val="91667"/>
              </a:lnSpc>
            </a:pPr>
            <a:endParaRPr lang="en-US" sz="1800" kern="1200" dirty="0">
              <a:solidFill>
                <a:prstClr val="black"/>
              </a:solidFill>
              <a:latin typeface="Calibri" panose="020F0502020204030204"/>
              <a:cs typeface="Arial"/>
              <a:sym typeface="Arial"/>
            </a:endParaRPr>
          </a:p>
        </p:txBody>
      </p:sp>
      <p:sp>
        <p:nvSpPr>
          <p:cNvPr id="56" name="Text 33"/>
          <p:cNvSpPr/>
          <p:nvPr/>
        </p:nvSpPr>
        <p:spPr>
          <a:xfrm>
            <a:off x="8382000" y="2196252"/>
            <a:ext cx="3632200" cy="146051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defTabSz="609585" rtl="0">
              <a:lnSpc>
                <a:spcPct val="91667"/>
              </a:lnSpc>
            </a:pPr>
            <a:r>
              <a:rPr lang="ru-RU" sz="1333" b="1" kern="1200" dirty="0">
                <a:solidFill>
                  <a:srgbClr val="000000"/>
                </a:solidFill>
                <a:latin typeface="MTS Text Regular" pitchFamily="34" charset="0"/>
                <a:ea typeface="MTS Text Regular" pitchFamily="34" charset="-122"/>
                <a:cs typeface="MTS Text Regular" pitchFamily="34" charset="-120"/>
                <a:sym typeface="Arial"/>
              </a:rPr>
              <a:t>Промышленный </a:t>
            </a:r>
            <a:r>
              <a:rPr lang="en-US" sz="1333" b="1" kern="1200" dirty="0">
                <a:solidFill>
                  <a:srgbClr val="000000"/>
                </a:solidFill>
                <a:latin typeface="MTS Text Regular" pitchFamily="34" charset="0"/>
                <a:ea typeface="MTS Text Regular" pitchFamily="34" charset="-122"/>
                <a:cs typeface="MTS Text Regular" pitchFamily="34" charset="-120"/>
                <a:sym typeface="Arial"/>
              </a:rPr>
              <a:t>AI </a:t>
            </a:r>
            <a:r>
              <a:rPr lang="ru-RU" sz="1333" b="1" kern="1200" dirty="0">
                <a:solidFill>
                  <a:srgbClr val="000000"/>
                </a:solidFill>
                <a:latin typeface="MTS Text Regular" pitchFamily="34" charset="0"/>
                <a:ea typeface="MTS Text Regular" pitchFamily="34" charset="-122"/>
                <a:cs typeface="MTS Text Regular" pitchFamily="34" charset="-120"/>
                <a:sym typeface="Arial"/>
              </a:rPr>
              <a:t>и э</a:t>
            </a:r>
            <a:r>
              <a:rPr lang="en-US" sz="1333" b="1" kern="1200" dirty="0" err="1">
                <a:solidFill>
                  <a:srgbClr val="000000"/>
                </a:solidFill>
                <a:latin typeface="MTS Text Regular" pitchFamily="34" charset="0"/>
                <a:ea typeface="MTS Text Regular" pitchFamily="34" charset="-122"/>
                <a:cs typeface="MTS Text Regular" pitchFamily="34" charset="-120"/>
                <a:sym typeface="Arial"/>
              </a:rPr>
              <a:t>кспериментальные</a:t>
            </a:r>
            <a:r>
              <a:rPr lang="en-US" sz="1333" b="1" kern="1200" dirty="0">
                <a:solidFill>
                  <a:srgbClr val="000000"/>
                </a:solidFill>
                <a:latin typeface="MTS Text Regular" pitchFamily="34" charset="0"/>
                <a:ea typeface="MTS Text Regular" pitchFamily="34" charset="-122"/>
                <a:cs typeface="MTS Text Regular" pitchFamily="34" charset="-120"/>
                <a:sym typeface="Arial"/>
              </a:rPr>
              <a:t> </a:t>
            </a:r>
            <a:r>
              <a:rPr lang="en-US" sz="1333" b="1" kern="1200" dirty="0" err="1">
                <a:solidFill>
                  <a:srgbClr val="000000"/>
                </a:solidFill>
                <a:latin typeface="MTS Text Regular" pitchFamily="34" charset="0"/>
                <a:ea typeface="MTS Text Regular" pitchFamily="34" charset="-122"/>
                <a:cs typeface="MTS Text Regular" pitchFamily="34" charset="-120"/>
                <a:sym typeface="Arial"/>
              </a:rPr>
              <a:t>приложения</a:t>
            </a:r>
            <a:endParaRPr lang="en-US" sz="1333" b="1" kern="1200" dirty="0">
              <a:solidFill>
                <a:prstClr val="black"/>
              </a:solidFill>
              <a:latin typeface="Calibri" panose="020F0502020204030204"/>
              <a:cs typeface="Arial"/>
              <a:sym typeface="Arial"/>
            </a:endParaRPr>
          </a:p>
        </p:txBody>
      </p:sp>
      <p:sp>
        <p:nvSpPr>
          <p:cNvPr id="57" name="1"/>
          <p:cNvSpPr/>
          <p:nvPr/>
        </p:nvSpPr>
        <p:spPr>
          <a:xfrm>
            <a:off x="8528051" y="3154803"/>
            <a:ext cx="1130300" cy="146051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algn="ctr" defTabSz="609585" rtl="0">
              <a:lnSpc>
                <a:spcPct val="91667"/>
              </a:lnSpc>
            </a:pPr>
            <a:r>
              <a:rPr lang="en-US" sz="1065" kern="1200" dirty="0">
                <a:solidFill>
                  <a:srgbClr val="000000"/>
                </a:solidFill>
                <a:latin typeface="MTS Wide Medium" pitchFamily="34" charset="0"/>
                <a:ea typeface="MTS Wide Medium" pitchFamily="34" charset="-122"/>
                <a:cs typeface="MTS Wide Medium" pitchFamily="34" charset="-120"/>
                <a:sym typeface="Arial"/>
              </a:rPr>
              <a:t>Производство</a:t>
            </a:r>
            <a:endParaRPr lang="en-US" sz="1065" kern="1200" dirty="0">
              <a:solidFill>
                <a:prstClr val="black"/>
              </a:solidFill>
              <a:latin typeface="Calibri" panose="020F0502020204030204"/>
              <a:cs typeface="Arial"/>
              <a:sym typeface="Arial"/>
            </a:endParaRPr>
          </a:p>
        </p:txBody>
      </p:sp>
      <p:sp>
        <p:nvSpPr>
          <p:cNvPr id="58" name="1"/>
          <p:cNvSpPr/>
          <p:nvPr/>
        </p:nvSpPr>
        <p:spPr>
          <a:xfrm>
            <a:off x="10013951" y="3154803"/>
            <a:ext cx="349251" cy="146051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algn="ctr" defTabSz="609585" rtl="0">
              <a:lnSpc>
                <a:spcPct val="91667"/>
              </a:lnSpc>
            </a:pPr>
            <a:r>
              <a:rPr lang="en-US" sz="1065" kern="1200" dirty="0">
                <a:solidFill>
                  <a:srgbClr val="000000"/>
                </a:solidFill>
                <a:latin typeface="MTS Wide Medium" pitchFamily="34" charset="0"/>
                <a:ea typeface="MTS Wide Medium" pitchFamily="34" charset="-122"/>
                <a:cs typeface="MTS Wide Medium" pitchFamily="34" charset="-120"/>
                <a:sym typeface="Arial"/>
              </a:rPr>
              <a:t>ГМК</a:t>
            </a:r>
            <a:endParaRPr lang="en-US" sz="1065" kern="1200" dirty="0">
              <a:solidFill>
                <a:prstClr val="black"/>
              </a:solidFill>
              <a:latin typeface="Calibri" panose="020F0502020204030204"/>
              <a:cs typeface="Arial"/>
              <a:sym typeface="Arial"/>
            </a:endParaRPr>
          </a:p>
        </p:txBody>
      </p:sp>
      <p:sp>
        <p:nvSpPr>
          <p:cNvPr id="59" name="1"/>
          <p:cNvSpPr/>
          <p:nvPr/>
        </p:nvSpPr>
        <p:spPr>
          <a:xfrm>
            <a:off x="10712451" y="3154803"/>
            <a:ext cx="901700" cy="146051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algn="ctr" defTabSz="609585" rtl="0">
              <a:lnSpc>
                <a:spcPct val="91667"/>
              </a:lnSpc>
            </a:pPr>
            <a:r>
              <a:rPr lang="en-US" sz="1065" kern="1200" dirty="0">
                <a:solidFill>
                  <a:srgbClr val="000000"/>
                </a:solidFill>
                <a:latin typeface="MTS Wide Medium" pitchFamily="34" charset="0"/>
                <a:ea typeface="MTS Wide Medium" pitchFamily="34" charset="-122"/>
                <a:cs typeface="MTS Wide Medium" pitchFamily="34" charset="-120"/>
                <a:sym typeface="Arial"/>
              </a:rPr>
              <a:t>Нефть и газ</a:t>
            </a:r>
            <a:endParaRPr lang="en-US" sz="1065" kern="1200" dirty="0">
              <a:solidFill>
                <a:prstClr val="black"/>
              </a:solidFill>
              <a:latin typeface="Calibri" panose="020F0502020204030204"/>
              <a:cs typeface="Arial"/>
              <a:sym typeface="Arial"/>
            </a:endParaRPr>
          </a:p>
        </p:txBody>
      </p:sp>
      <p:sp>
        <p:nvSpPr>
          <p:cNvPr id="60" name="Text 37"/>
          <p:cNvSpPr/>
          <p:nvPr/>
        </p:nvSpPr>
        <p:spPr>
          <a:xfrm>
            <a:off x="8521701" y="3567552"/>
            <a:ext cx="3492500" cy="146051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defTabSz="609585" rtl="0">
              <a:lnSpc>
                <a:spcPct val="91667"/>
              </a:lnSpc>
            </a:pPr>
            <a:r>
              <a:rPr lang="en-US" sz="1065" kern="1200" dirty="0" err="1">
                <a:solidFill>
                  <a:srgbClr val="000000"/>
                </a:solidFill>
                <a:latin typeface="MTS Text Regular" pitchFamily="34" charset="0"/>
                <a:ea typeface="MTS Text Regular" pitchFamily="34" charset="-122"/>
                <a:cs typeface="MTS Text Regular" pitchFamily="34" charset="-120"/>
                <a:sym typeface="Arial"/>
              </a:rPr>
              <a:t>Цифровые</a:t>
            </a:r>
            <a:r>
              <a:rPr lang="en-US" sz="1065" kern="1200" dirty="0">
                <a:solidFill>
                  <a:srgbClr val="000000"/>
                </a:solidFill>
                <a:latin typeface="MTS Text Regular" pitchFamily="34" charset="0"/>
                <a:ea typeface="MTS Text Regular" pitchFamily="34" charset="-122"/>
                <a:cs typeface="MTS Text Regular" pitchFamily="34" charset="-120"/>
                <a:sym typeface="Arial"/>
              </a:rPr>
              <a:t> </a:t>
            </a:r>
            <a:r>
              <a:rPr lang="en-US" sz="1065" kern="1200" dirty="0" err="1" smtClean="0">
                <a:solidFill>
                  <a:srgbClr val="000000"/>
                </a:solidFill>
                <a:latin typeface="MTS Text Regular" pitchFamily="34" charset="0"/>
                <a:ea typeface="MTS Text Regular" pitchFamily="34" charset="-122"/>
                <a:cs typeface="MTS Text Regular" pitchFamily="34" charset="-120"/>
                <a:sym typeface="Arial"/>
              </a:rPr>
              <a:t>двойники</a:t>
            </a:r>
            <a:r>
              <a:rPr lang="ru-RU" sz="1065" kern="1200" dirty="0" smtClean="0">
                <a:solidFill>
                  <a:srgbClr val="000000"/>
                </a:solidFill>
                <a:latin typeface="MTS Text Regular" pitchFamily="34" charset="0"/>
                <a:ea typeface="MTS Text Regular" pitchFamily="34" charset="-122"/>
                <a:cs typeface="MTS Text Regular" pitchFamily="34" charset="-120"/>
                <a:sym typeface="Arial"/>
              </a:rPr>
              <a:t> производств</a:t>
            </a:r>
            <a:endParaRPr lang="en-US" sz="1065" kern="1200" dirty="0">
              <a:solidFill>
                <a:prstClr val="black"/>
              </a:solidFill>
              <a:latin typeface="Calibri" panose="020F0502020204030204"/>
              <a:cs typeface="Arial"/>
              <a:sym typeface="Arial"/>
            </a:endParaRPr>
          </a:p>
        </p:txBody>
      </p:sp>
      <p:sp>
        <p:nvSpPr>
          <p:cNvPr id="61" name="Text 38"/>
          <p:cNvSpPr/>
          <p:nvPr/>
        </p:nvSpPr>
        <p:spPr>
          <a:xfrm>
            <a:off x="8521701" y="3789803"/>
            <a:ext cx="3492500" cy="146051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defTabSz="609585" rtl="0">
              <a:lnSpc>
                <a:spcPct val="91667"/>
              </a:lnSpc>
            </a:pPr>
            <a:r>
              <a:rPr lang="en-US" sz="1065" kern="1200" dirty="0" err="1">
                <a:solidFill>
                  <a:srgbClr val="000000"/>
                </a:solidFill>
                <a:latin typeface="MTS Text Regular" pitchFamily="34" charset="0"/>
                <a:ea typeface="MTS Text Regular" pitchFamily="34" charset="-122"/>
                <a:cs typeface="MTS Text Regular" pitchFamily="34" charset="-120"/>
                <a:sym typeface="Arial"/>
              </a:rPr>
              <a:t>Цифровые</a:t>
            </a:r>
            <a:r>
              <a:rPr lang="en-US" sz="1065" kern="1200" dirty="0">
                <a:solidFill>
                  <a:srgbClr val="000000"/>
                </a:solidFill>
                <a:latin typeface="MTS Text Regular" pitchFamily="34" charset="0"/>
                <a:ea typeface="MTS Text Regular" pitchFamily="34" charset="-122"/>
                <a:cs typeface="MTS Text Regular" pitchFamily="34" charset="-120"/>
                <a:sym typeface="Arial"/>
              </a:rPr>
              <a:t> </a:t>
            </a:r>
            <a:r>
              <a:rPr lang="ru-RU" sz="1065" kern="1200" dirty="0" smtClean="0">
                <a:solidFill>
                  <a:srgbClr val="000000"/>
                </a:solidFill>
                <a:latin typeface="MTS Text Regular" pitchFamily="34" charset="0"/>
                <a:ea typeface="MTS Text Regular" pitchFamily="34" charset="-122"/>
                <a:cs typeface="MTS Text Regular" pitchFamily="34" charset="-120"/>
                <a:sym typeface="Arial"/>
              </a:rPr>
              <a:t>советчики и оптимизатор техпроцессов</a:t>
            </a:r>
            <a:endParaRPr lang="ru-RU" sz="1065" kern="1200" dirty="0">
              <a:solidFill>
                <a:srgbClr val="000000"/>
              </a:solidFill>
              <a:latin typeface="MTS Text Regular" pitchFamily="34" charset="0"/>
              <a:ea typeface="MTS Text Regular" pitchFamily="34" charset="-122"/>
              <a:cs typeface="MTS Text Regular" pitchFamily="34" charset="-120"/>
              <a:sym typeface="Arial"/>
            </a:endParaRPr>
          </a:p>
        </p:txBody>
      </p:sp>
      <p:pic>
        <p:nvPicPr>
          <p:cNvPr id="63" name="Bullit" descr="preencoded.png"/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="" xmlns:asvg="http://schemas.microsoft.com/office/drawing/2016/SVG/main" r:embed="rId20"/>
              </a:ext>
            </a:extLst>
          </a:blip>
          <a:srcRect/>
          <a:stretch/>
        </p:blipFill>
        <p:spPr>
          <a:xfrm>
            <a:off x="8382001" y="3997619"/>
            <a:ext cx="38100" cy="171451"/>
          </a:xfrm>
          <a:prstGeom prst="rect">
            <a:avLst/>
          </a:prstGeom>
        </p:spPr>
      </p:pic>
      <p:sp>
        <p:nvSpPr>
          <p:cNvPr id="64" name="Text 38"/>
          <p:cNvSpPr/>
          <p:nvPr/>
        </p:nvSpPr>
        <p:spPr>
          <a:xfrm>
            <a:off x="8521701" y="4010319"/>
            <a:ext cx="3492500" cy="146051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defTabSz="609585" rtl="0">
              <a:lnSpc>
                <a:spcPct val="91667"/>
              </a:lnSpc>
            </a:pPr>
            <a:r>
              <a:rPr lang="ru-RU" sz="1065" kern="1200" dirty="0">
                <a:solidFill>
                  <a:srgbClr val="000000"/>
                </a:solidFill>
                <a:latin typeface="MTS Text Regular" pitchFamily="34" charset="0"/>
                <a:ea typeface="MTS Text Regular" pitchFamily="34" charset="-122"/>
                <a:cs typeface="MTS Text Regular" pitchFamily="34" charset="-120"/>
                <a:sym typeface="Arial"/>
              </a:rPr>
              <a:t>Системы </a:t>
            </a:r>
            <a:r>
              <a:rPr lang="ru-RU" sz="1065" kern="1200" dirty="0" err="1">
                <a:solidFill>
                  <a:srgbClr val="000000"/>
                </a:solidFill>
                <a:latin typeface="MTS Text Regular" pitchFamily="34" charset="0"/>
                <a:ea typeface="MTS Text Regular" pitchFamily="34" charset="-122"/>
                <a:cs typeface="MTS Text Regular" pitchFamily="34" charset="-120"/>
                <a:sym typeface="Arial"/>
              </a:rPr>
              <a:t>проактивного</a:t>
            </a:r>
            <a:r>
              <a:rPr lang="ru-RU" sz="1065" kern="1200" dirty="0">
                <a:solidFill>
                  <a:srgbClr val="000000"/>
                </a:solidFill>
                <a:latin typeface="MTS Text Regular" pitchFamily="34" charset="0"/>
                <a:ea typeface="MTS Text Regular" pitchFamily="34" charset="-122"/>
                <a:cs typeface="MTS Text Regular" pitchFamily="34" charset="-120"/>
                <a:sym typeface="Arial"/>
              </a:rPr>
              <a:t> управления экологическими рисками</a:t>
            </a:r>
            <a:endParaRPr lang="ru-RU" sz="1065" kern="1200" dirty="0">
              <a:solidFill>
                <a:srgbClr val="000000"/>
              </a:solidFill>
              <a:latin typeface="MTS Text Regular" pitchFamily="34" charset="0"/>
              <a:ea typeface="MTS Text Regular" pitchFamily="34" charset="-122"/>
              <a:cs typeface="MTS Text Regular" pitchFamily="34" charset="-120"/>
              <a:sym typeface="Arial"/>
            </a:endParaRPr>
          </a:p>
        </p:txBody>
      </p:sp>
      <p:pic>
        <p:nvPicPr>
          <p:cNvPr id="65" name="Frame 2085661667" descr="preencoded.png"/>
          <p:cNvPicPr>
            <a:picLocks noChangeAspect="1"/>
          </p:cNvPicPr>
          <p:nvPr/>
        </p:nvPicPr>
        <p:blipFill>
          <a:blip r:embed="rId21">
            <a:extLst>
              <a:ext uri="{96DAC541-7B7A-43D3-8B79-37D633B846F1}">
                <asvg:svgBlip xmlns="" xmlns:asvg="http://schemas.microsoft.com/office/drawing/2016/SVG/main" r:embed="rId22"/>
              </a:ext>
            </a:extLst>
          </a:blip>
          <a:srcRect/>
          <a:stretch/>
        </p:blipFill>
        <p:spPr>
          <a:xfrm>
            <a:off x="158751" y="2954777"/>
            <a:ext cx="1422400" cy="349251"/>
          </a:xfrm>
          <a:prstGeom prst="rect">
            <a:avLst/>
          </a:prstGeom>
        </p:spPr>
      </p:pic>
      <p:pic>
        <p:nvPicPr>
          <p:cNvPr id="66" name="Frame 2085661668" descr="preencoded.png"/>
          <p:cNvPicPr>
            <a:picLocks noChangeAspect="1"/>
          </p:cNvPicPr>
          <p:nvPr/>
        </p:nvPicPr>
        <p:blipFill>
          <a:blip r:embed="rId27">
            <a:extLst>
              <a:ext uri="{96DAC541-7B7A-43D3-8B79-37D633B846F1}">
                <asvg:svgBlip xmlns="" xmlns:asvg="http://schemas.microsoft.com/office/drawing/2016/SVG/main" r:embed="rId28"/>
              </a:ext>
            </a:extLst>
          </a:blip>
          <a:srcRect/>
          <a:stretch/>
        </p:blipFill>
        <p:spPr>
          <a:xfrm>
            <a:off x="1644651" y="2954777"/>
            <a:ext cx="635000" cy="349251"/>
          </a:xfrm>
          <a:prstGeom prst="rect">
            <a:avLst/>
          </a:prstGeom>
        </p:spPr>
      </p:pic>
      <p:pic>
        <p:nvPicPr>
          <p:cNvPr id="67" name="Frame 2085661669" descr="preencoded.png"/>
          <p:cNvPicPr>
            <a:picLocks noChangeAspect="1"/>
          </p:cNvPicPr>
          <p:nvPr/>
        </p:nvPicPr>
        <p:blipFill>
          <a:blip r:embed="rId29">
            <a:extLst>
              <a:ext uri="{96DAC541-7B7A-43D3-8B79-37D633B846F1}">
                <asvg:svgBlip xmlns="" xmlns:asvg="http://schemas.microsoft.com/office/drawing/2016/SVG/main" r:embed="rId30"/>
              </a:ext>
            </a:extLst>
          </a:blip>
          <a:srcRect/>
          <a:stretch/>
        </p:blipFill>
        <p:spPr>
          <a:xfrm>
            <a:off x="2343151" y="2954777"/>
            <a:ext cx="1193800" cy="349251"/>
          </a:xfrm>
          <a:prstGeom prst="rect">
            <a:avLst/>
          </a:prstGeom>
        </p:spPr>
      </p:pic>
      <p:sp>
        <p:nvSpPr>
          <p:cNvPr id="68" name="1"/>
          <p:cNvSpPr/>
          <p:nvPr/>
        </p:nvSpPr>
        <p:spPr>
          <a:xfrm>
            <a:off x="304802" y="3056377"/>
            <a:ext cx="1130300" cy="146051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algn="ctr" defTabSz="609585" rtl="0">
              <a:lnSpc>
                <a:spcPct val="91667"/>
              </a:lnSpc>
            </a:pPr>
            <a:r>
              <a:rPr lang="ru-RU" sz="1065" kern="1200" dirty="0">
                <a:solidFill>
                  <a:srgbClr val="000000"/>
                </a:solidFill>
                <a:latin typeface="MTS Wide Medium" pitchFamily="34" charset="0"/>
                <a:ea typeface="MTS Wide Medium" pitchFamily="34" charset="-122"/>
                <a:cs typeface="MTS Wide Medium" pitchFamily="34" charset="-120"/>
                <a:sym typeface="Arial"/>
              </a:rPr>
              <a:t>Энергетика</a:t>
            </a:r>
            <a:endParaRPr lang="en-US" sz="1065" kern="1200" dirty="0">
              <a:solidFill>
                <a:prstClr val="black"/>
              </a:solidFill>
              <a:latin typeface="Calibri" panose="020F0502020204030204"/>
              <a:cs typeface="Arial"/>
              <a:sym typeface="Arial"/>
            </a:endParaRPr>
          </a:p>
        </p:txBody>
      </p:sp>
      <p:sp>
        <p:nvSpPr>
          <p:cNvPr id="69" name="1"/>
          <p:cNvSpPr/>
          <p:nvPr/>
        </p:nvSpPr>
        <p:spPr>
          <a:xfrm>
            <a:off x="1790701" y="3056377"/>
            <a:ext cx="349251" cy="146051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algn="ctr" defTabSz="609585" rtl="0">
              <a:lnSpc>
                <a:spcPct val="91667"/>
              </a:lnSpc>
            </a:pPr>
            <a:r>
              <a:rPr lang="en-US" sz="1065" kern="1200" dirty="0">
                <a:solidFill>
                  <a:srgbClr val="000000"/>
                </a:solidFill>
                <a:latin typeface="MTS Wide Medium" pitchFamily="34" charset="0"/>
                <a:ea typeface="MTS Wide Medium" pitchFamily="34" charset="-122"/>
                <a:cs typeface="MTS Wide Medium" pitchFamily="34" charset="-120"/>
                <a:sym typeface="Arial"/>
              </a:rPr>
              <a:t>ГМК</a:t>
            </a:r>
            <a:endParaRPr lang="en-US" sz="1065" kern="1200" dirty="0">
              <a:solidFill>
                <a:prstClr val="black"/>
              </a:solidFill>
              <a:latin typeface="Calibri" panose="020F0502020204030204"/>
              <a:cs typeface="Arial"/>
              <a:sym typeface="Arial"/>
            </a:endParaRPr>
          </a:p>
        </p:txBody>
      </p:sp>
      <p:sp>
        <p:nvSpPr>
          <p:cNvPr id="70" name="1"/>
          <p:cNvSpPr/>
          <p:nvPr/>
        </p:nvSpPr>
        <p:spPr>
          <a:xfrm>
            <a:off x="2489202" y="3056377"/>
            <a:ext cx="901700" cy="146051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algn="ctr" defTabSz="609585" rtl="0">
              <a:lnSpc>
                <a:spcPct val="91667"/>
              </a:lnSpc>
            </a:pPr>
            <a:r>
              <a:rPr lang="en-US" sz="1065" kern="1200" dirty="0">
                <a:solidFill>
                  <a:srgbClr val="000000"/>
                </a:solidFill>
                <a:latin typeface="MTS Wide Medium" pitchFamily="34" charset="0"/>
                <a:ea typeface="MTS Wide Medium" pitchFamily="34" charset="-122"/>
                <a:cs typeface="MTS Wide Medium" pitchFamily="34" charset="-120"/>
                <a:sym typeface="Arial"/>
              </a:rPr>
              <a:t>Нефть и газ</a:t>
            </a:r>
            <a:endParaRPr lang="en-US" sz="1065" kern="1200" dirty="0">
              <a:solidFill>
                <a:prstClr val="black"/>
              </a:solidFill>
              <a:latin typeface="Calibri" panose="020F0502020204030204"/>
              <a:cs typeface="Arial"/>
              <a:sym typeface="Arial"/>
            </a:endParaRPr>
          </a:p>
        </p:txBody>
      </p:sp>
      <p:pic>
        <p:nvPicPr>
          <p:cNvPr id="71" name="Frame 2085661667" descr="preencoded.png"/>
          <p:cNvPicPr>
            <a:picLocks noChangeAspect="1"/>
          </p:cNvPicPr>
          <p:nvPr/>
        </p:nvPicPr>
        <p:blipFill>
          <a:blip r:embed="rId21">
            <a:extLst>
              <a:ext uri="{96DAC541-7B7A-43D3-8B79-37D633B846F1}">
                <asvg:svgBlip xmlns="" xmlns:asvg="http://schemas.microsoft.com/office/drawing/2016/SVG/main" r:embed="rId22"/>
              </a:ext>
            </a:extLst>
          </a:blip>
          <a:srcRect/>
          <a:stretch/>
        </p:blipFill>
        <p:spPr>
          <a:xfrm>
            <a:off x="158751" y="3370701"/>
            <a:ext cx="1422400" cy="349251"/>
          </a:xfrm>
          <a:prstGeom prst="rect">
            <a:avLst/>
          </a:prstGeom>
        </p:spPr>
      </p:pic>
      <p:sp>
        <p:nvSpPr>
          <p:cNvPr id="72" name="1"/>
          <p:cNvSpPr/>
          <p:nvPr/>
        </p:nvSpPr>
        <p:spPr>
          <a:xfrm>
            <a:off x="248285" y="3472301"/>
            <a:ext cx="1243331" cy="146051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algn="ctr" defTabSz="609585" rtl="0">
              <a:lnSpc>
                <a:spcPct val="91667"/>
              </a:lnSpc>
            </a:pPr>
            <a:r>
              <a:rPr lang="ru-RU" sz="1065" kern="1200" dirty="0">
                <a:solidFill>
                  <a:srgbClr val="000000"/>
                </a:solidFill>
                <a:latin typeface="MTS Wide Medium" pitchFamily="34" charset="0"/>
                <a:ea typeface="MTS Wide Medium" pitchFamily="34" charset="-122"/>
                <a:cs typeface="Arial"/>
                <a:sym typeface="Arial"/>
              </a:rPr>
              <a:t>Недвижимость</a:t>
            </a:r>
            <a:endParaRPr lang="en-US" sz="1065" kern="1200" dirty="0">
              <a:solidFill>
                <a:prstClr val="black"/>
              </a:solidFill>
              <a:latin typeface="Calibri" panose="020F0502020204030204"/>
              <a:cs typeface="Arial"/>
              <a:sym typeface="Arial"/>
            </a:endParaRPr>
          </a:p>
        </p:txBody>
      </p:sp>
      <p:sp>
        <p:nvSpPr>
          <p:cNvPr id="74" name="Text 38"/>
          <p:cNvSpPr/>
          <p:nvPr/>
        </p:nvSpPr>
        <p:spPr>
          <a:xfrm>
            <a:off x="8530943" y="4213519"/>
            <a:ext cx="3492500" cy="146051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defTabSz="609585" rtl="0">
              <a:lnSpc>
                <a:spcPct val="91667"/>
              </a:lnSpc>
            </a:pPr>
            <a:endParaRPr lang="ru-RU" sz="1065" kern="1200" dirty="0">
              <a:solidFill>
                <a:srgbClr val="000000"/>
              </a:solidFill>
              <a:latin typeface="MTS Text Regular" pitchFamily="34" charset="0"/>
              <a:ea typeface="MTS Text Regular" pitchFamily="34" charset="-122"/>
              <a:cs typeface="MTS Text Regular" pitchFamily="34" charset="-120"/>
              <a:sym typeface="Arial"/>
            </a:endParaRPr>
          </a:p>
        </p:txBody>
      </p:sp>
      <p:pic>
        <p:nvPicPr>
          <p:cNvPr id="75" name="Frame 2085661667" descr="preencoded.png"/>
          <p:cNvPicPr>
            <a:picLocks noChangeAspect="1"/>
          </p:cNvPicPr>
          <p:nvPr/>
        </p:nvPicPr>
        <p:blipFill>
          <a:blip r:embed="rId21">
            <a:extLst>
              <a:ext uri="{96DAC541-7B7A-43D3-8B79-37D633B846F1}">
                <asvg:svgBlip xmlns="" xmlns:asvg="http://schemas.microsoft.com/office/drawing/2016/SVG/main" r:embed="rId22"/>
              </a:ext>
            </a:extLst>
          </a:blip>
          <a:srcRect/>
          <a:stretch/>
        </p:blipFill>
        <p:spPr>
          <a:xfrm>
            <a:off x="1644651" y="3374173"/>
            <a:ext cx="1422400" cy="349251"/>
          </a:xfrm>
          <a:prstGeom prst="rect">
            <a:avLst/>
          </a:prstGeom>
        </p:spPr>
      </p:pic>
      <p:sp>
        <p:nvSpPr>
          <p:cNvPr id="76" name="1"/>
          <p:cNvSpPr/>
          <p:nvPr/>
        </p:nvSpPr>
        <p:spPr>
          <a:xfrm>
            <a:off x="1790702" y="3475773"/>
            <a:ext cx="1130300" cy="146051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algn="ctr" defTabSz="609585" rtl="0">
              <a:lnSpc>
                <a:spcPct val="91667"/>
              </a:lnSpc>
            </a:pPr>
            <a:r>
              <a:rPr lang="en-US" sz="1065" kern="1200" dirty="0">
                <a:solidFill>
                  <a:srgbClr val="000000"/>
                </a:solidFill>
                <a:latin typeface="MTS Wide Medium" pitchFamily="34" charset="0"/>
                <a:ea typeface="MTS Wide Medium" pitchFamily="34" charset="-122"/>
                <a:cs typeface="MTS Wide Medium" pitchFamily="34" charset="-120"/>
                <a:sym typeface="Arial"/>
              </a:rPr>
              <a:t>Производство</a:t>
            </a:r>
            <a:endParaRPr lang="en-US" sz="1065" kern="1200" dirty="0">
              <a:solidFill>
                <a:prstClr val="black"/>
              </a:solidFill>
              <a:latin typeface="Calibri" panose="020F0502020204030204"/>
              <a:cs typeface="Arial"/>
              <a:sym typeface="Arial"/>
            </a:endParaRPr>
          </a:p>
        </p:txBody>
      </p:sp>
      <p:pic>
        <p:nvPicPr>
          <p:cNvPr id="77" name="Frame 2085661668" descr="preencoded.png"/>
          <p:cNvPicPr>
            <a:picLocks noChangeAspect="1"/>
          </p:cNvPicPr>
          <p:nvPr/>
        </p:nvPicPr>
        <p:blipFill>
          <a:blip r:embed="rId27">
            <a:extLst>
              <a:ext uri="{96DAC541-7B7A-43D3-8B79-37D633B846F1}">
                <asvg:svgBlip xmlns="" xmlns:asvg="http://schemas.microsoft.com/office/drawing/2016/SVG/main" r:embed="rId28"/>
              </a:ext>
            </a:extLst>
          </a:blip>
          <a:srcRect/>
          <a:stretch/>
        </p:blipFill>
        <p:spPr>
          <a:xfrm>
            <a:off x="5972175" y="3358003"/>
            <a:ext cx="635000" cy="349251"/>
          </a:xfrm>
          <a:prstGeom prst="rect">
            <a:avLst/>
          </a:prstGeom>
        </p:spPr>
      </p:pic>
      <p:sp>
        <p:nvSpPr>
          <p:cNvPr id="78" name="1"/>
          <p:cNvSpPr/>
          <p:nvPr/>
        </p:nvSpPr>
        <p:spPr>
          <a:xfrm>
            <a:off x="6118225" y="3459603"/>
            <a:ext cx="349251" cy="146051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algn="ctr" defTabSz="609585" rtl="0">
              <a:lnSpc>
                <a:spcPct val="91667"/>
              </a:lnSpc>
            </a:pPr>
            <a:r>
              <a:rPr lang="en-US" sz="1065" kern="1200" dirty="0">
                <a:solidFill>
                  <a:srgbClr val="000000"/>
                </a:solidFill>
                <a:latin typeface="MTS Wide Medium" pitchFamily="34" charset="0"/>
                <a:ea typeface="MTS Wide Medium" pitchFamily="34" charset="-122"/>
                <a:cs typeface="MTS Wide Medium" pitchFamily="34" charset="-120"/>
                <a:sym typeface="Arial"/>
              </a:rPr>
              <a:t>ГМК</a:t>
            </a:r>
            <a:endParaRPr lang="en-US" sz="1065" kern="1200" dirty="0">
              <a:solidFill>
                <a:prstClr val="black"/>
              </a:solidFill>
              <a:latin typeface="Calibri" panose="020F0502020204030204"/>
              <a:cs typeface="Arial"/>
              <a:sym typeface="Arial"/>
            </a:endParaRPr>
          </a:p>
        </p:txBody>
      </p:sp>
      <p:pic>
        <p:nvPicPr>
          <p:cNvPr id="79" name="Bullit" descr="preencoded.png"/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="" xmlns:asvg="http://schemas.microsoft.com/office/drawing/2016/SVG/main" r:embed="rId20"/>
              </a:ext>
            </a:extLst>
          </a:blip>
          <a:srcRect/>
          <a:stretch/>
        </p:blipFill>
        <p:spPr>
          <a:xfrm>
            <a:off x="254001" y="4294627"/>
            <a:ext cx="38100" cy="171451"/>
          </a:xfrm>
          <a:prstGeom prst="rect">
            <a:avLst/>
          </a:prstGeom>
        </p:spPr>
      </p:pic>
      <p:sp>
        <p:nvSpPr>
          <p:cNvPr id="80" name="Text 15"/>
          <p:cNvSpPr/>
          <p:nvPr/>
        </p:nvSpPr>
        <p:spPr>
          <a:xfrm>
            <a:off x="393701" y="4307327"/>
            <a:ext cx="3492500" cy="146051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defTabSz="609585" rtl="0">
              <a:lnSpc>
                <a:spcPct val="91667"/>
              </a:lnSpc>
            </a:pPr>
            <a:r>
              <a:rPr lang="ru-RU" sz="1065" kern="1200" dirty="0">
                <a:solidFill>
                  <a:srgbClr val="000000"/>
                </a:solidFill>
                <a:latin typeface="MTS Text Regular" pitchFamily="34" charset="0"/>
                <a:ea typeface="MTS Text Regular" pitchFamily="34" charset="-122"/>
                <a:cs typeface="MTS Text Regular" pitchFamily="34" charset="-120"/>
                <a:sym typeface="Arial"/>
              </a:rPr>
              <a:t>Мониторинг одиночных сотрудников и техники</a:t>
            </a:r>
            <a:endParaRPr lang="en-US" sz="1065" kern="1200" dirty="0">
              <a:solidFill>
                <a:prstClr val="black"/>
              </a:solidFill>
              <a:latin typeface="Calibri" panose="020F0502020204030204"/>
              <a:cs typeface="Arial"/>
              <a:sym typeface="Arial"/>
            </a:endParaRPr>
          </a:p>
        </p:txBody>
      </p:sp>
      <p:pic>
        <p:nvPicPr>
          <p:cNvPr id="81" name="Bullit" descr="preencoded.png"/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="" xmlns:asvg="http://schemas.microsoft.com/office/drawing/2016/SVG/main" r:embed="rId20"/>
              </a:ext>
            </a:extLst>
          </a:blip>
          <a:srcRect/>
          <a:stretch/>
        </p:blipFill>
        <p:spPr>
          <a:xfrm>
            <a:off x="254009" y="4497827"/>
            <a:ext cx="38100" cy="171451"/>
          </a:xfrm>
          <a:prstGeom prst="rect">
            <a:avLst/>
          </a:prstGeom>
        </p:spPr>
      </p:pic>
      <p:sp>
        <p:nvSpPr>
          <p:cNvPr id="82" name="Text 15"/>
          <p:cNvSpPr/>
          <p:nvPr/>
        </p:nvSpPr>
        <p:spPr>
          <a:xfrm>
            <a:off x="393709" y="4510527"/>
            <a:ext cx="3492500" cy="146051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defTabSz="609585" rtl="0">
              <a:lnSpc>
                <a:spcPct val="91667"/>
              </a:lnSpc>
            </a:pPr>
            <a:r>
              <a:rPr lang="ru-RU" sz="1065" kern="1200" dirty="0">
                <a:solidFill>
                  <a:srgbClr val="000000"/>
                </a:solidFill>
                <a:latin typeface="MTS Text Regular" pitchFamily="34" charset="0"/>
                <a:ea typeface="MTS Text Regular" pitchFamily="34" charset="-122"/>
                <a:cs typeface="MTS Text Regular" pitchFamily="34" charset="-120"/>
                <a:sym typeface="Arial"/>
              </a:rPr>
              <a:t>Мониторинг работы оборудования</a:t>
            </a:r>
            <a:endParaRPr lang="en-US" sz="1065" kern="1200" dirty="0">
              <a:solidFill>
                <a:prstClr val="black"/>
              </a:solidFill>
              <a:latin typeface="Calibri" panose="020F0502020204030204"/>
              <a:cs typeface="Arial"/>
              <a:sym typeface="Arial"/>
            </a:endParaRPr>
          </a:p>
        </p:txBody>
      </p:sp>
      <p:sp>
        <p:nvSpPr>
          <p:cNvPr id="83" name="-"/>
          <p:cNvSpPr/>
          <p:nvPr/>
        </p:nvSpPr>
        <p:spPr>
          <a:xfrm>
            <a:off x="292101" y="5600701"/>
            <a:ext cx="11760200" cy="838200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defTabSz="609585" rtl="0">
              <a:lnSpc>
                <a:spcPct val="91667"/>
              </a:lnSpc>
            </a:pPr>
            <a:r>
              <a:rPr lang="ru-RU" sz="3000" kern="1200" dirty="0" smtClean="0">
                <a:solidFill>
                  <a:srgbClr val="000000"/>
                </a:solidFill>
                <a:latin typeface="MTS Wide Medium" pitchFamily="34" charset="0"/>
                <a:ea typeface="MTS Wide Medium" pitchFamily="34" charset="-122"/>
                <a:cs typeface="MTS Wide Medium" pitchFamily="34" charset="-120"/>
                <a:sym typeface="Arial"/>
              </a:rPr>
              <a:t>А еще частные сети 5</a:t>
            </a:r>
            <a:r>
              <a:rPr lang="en-US" sz="3000" kern="1200" dirty="0" smtClean="0">
                <a:solidFill>
                  <a:srgbClr val="000000"/>
                </a:solidFill>
                <a:latin typeface="MTS Wide Medium" pitchFamily="34" charset="0"/>
                <a:ea typeface="MTS Wide Medium" pitchFamily="34" charset="-122"/>
                <a:cs typeface="MTS Wide Medium" pitchFamily="34" charset="-120"/>
                <a:sym typeface="Arial"/>
              </a:rPr>
              <a:t>G, </a:t>
            </a:r>
            <a:r>
              <a:rPr lang="ru-RU" sz="3000" kern="1200" dirty="0" smtClean="0">
                <a:solidFill>
                  <a:srgbClr val="000000"/>
                </a:solidFill>
                <a:latin typeface="MTS Wide Medium" pitchFamily="34" charset="0"/>
                <a:ea typeface="MTS Wide Medium" pitchFamily="34" charset="-122"/>
                <a:cs typeface="MTS Wide Medium" pitchFamily="34" charset="-120"/>
                <a:sym typeface="Arial"/>
              </a:rPr>
              <a:t>роботы и спутники</a:t>
            </a:r>
            <a:endParaRPr lang="en-US" sz="3000" kern="1200" dirty="0">
              <a:solidFill>
                <a:prstClr val="black"/>
              </a:solidFill>
              <a:latin typeface="Calibri" panose="020F0502020204030204"/>
              <a:cs typeface="Arial"/>
              <a:sym typeface="Arial"/>
            </a:endParaRPr>
          </a:p>
        </p:txBody>
      </p:sp>
      <p:pic>
        <p:nvPicPr>
          <p:cNvPr id="84" name="Рисунок 83"/>
          <p:cNvPicPr>
            <a:picLocks noChangeAspect="1"/>
          </p:cNvPicPr>
          <p:nvPr/>
        </p:nvPicPr>
        <p:blipFill rotWithShape="1"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086" r="18338"/>
          <a:stretch/>
        </p:blipFill>
        <p:spPr>
          <a:xfrm>
            <a:off x="8868779" y="4007527"/>
            <a:ext cx="3992138" cy="3181274"/>
          </a:xfrm>
          <a:custGeom>
            <a:avLst/>
            <a:gdLst>
              <a:gd name="connsiteX0" fmla="*/ 0 w 3992138"/>
              <a:gd name="connsiteY0" fmla="*/ 0 h 3181274"/>
              <a:gd name="connsiteX1" fmla="*/ 3992138 w 3992138"/>
              <a:gd name="connsiteY1" fmla="*/ 0 h 3181274"/>
              <a:gd name="connsiteX2" fmla="*/ 3992138 w 3992138"/>
              <a:gd name="connsiteY2" fmla="*/ 2489132 h 3181274"/>
              <a:gd name="connsiteX3" fmla="*/ 2709746 w 3992138"/>
              <a:gd name="connsiteY3" fmla="*/ 2489132 h 3181274"/>
              <a:gd name="connsiteX4" fmla="*/ 2709746 w 3992138"/>
              <a:gd name="connsiteY4" fmla="*/ 3181274 h 3181274"/>
              <a:gd name="connsiteX5" fmla="*/ 0 w 3992138"/>
              <a:gd name="connsiteY5" fmla="*/ 3181274 h 31812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992138" h="3181274">
                <a:moveTo>
                  <a:pt x="0" y="0"/>
                </a:moveTo>
                <a:lnTo>
                  <a:pt x="3992138" y="0"/>
                </a:lnTo>
                <a:lnTo>
                  <a:pt x="3992138" y="2489132"/>
                </a:lnTo>
                <a:lnTo>
                  <a:pt x="2709746" y="2489132"/>
                </a:lnTo>
                <a:lnTo>
                  <a:pt x="2709746" y="3181274"/>
                </a:lnTo>
                <a:lnTo>
                  <a:pt x="0" y="3181274"/>
                </a:lnTo>
                <a:close/>
              </a:path>
            </a:pathLst>
          </a:custGeom>
        </p:spPr>
      </p:pic>
      <p:sp>
        <p:nvSpPr>
          <p:cNvPr id="86" name="Title 1"/>
          <p:cNvSpPr txBox="1">
            <a:spLocks/>
          </p:cNvSpPr>
          <p:nvPr/>
        </p:nvSpPr>
        <p:spPr bwMode="auto">
          <a:xfrm>
            <a:off x="515938" y="237170"/>
            <a:ext cx="10685463" cy="477172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 defTabSz="967502">
              <a:spcBef>
                <a:spcPts val="0"/>
              </a:spcBef>
              <a:buNone/>
              <a:defRPr lang="ru-RU" sz="3200" b="0" i="0" cap="all" spc="-71">
                <a:solidFill>
                  <a:schemeClr val="tx1"/>
                </a:solidFill>
                <a:latin typeface="MTS Wide Medium"/>
                <a:ea typeface="MTS Wide Medium"/>
                <a:cs typeface="Arial Black"/>
              </a:defRPr>
            </a:lvl1pPr>
          </a:lstStyle>
          <a:p>
            <a:pPr defTabSz="609585" rtl="0">
              <a:lnSpc>
                <a:spcPct val="91667"/>
              </a:lnSpc>
            </a:pPr>
            <a:r>
              <a:rPr lang="en-US" sz="2800" kern="1200" dirty="0">
                <a:solidFill>
                  <a:srgbClr val="000000"/>
                </a:solidFill>
                <a:latin typeface="MTS Wide Medium" pitchFamily="34" charset="0"/>
                <a:ea typeface="MTS Wide Medium" pitchFamily="34" charset="-122"/>
                <a:cs typeface="MTS Wide Medium" pitchFamily="34" charset="-120"/>
                <a:sym typeface="Arial"/>
              </a:rPr>
              <a:t>MTS Industrial Services:</a:t>
            </a:r>
          </a:p>
          <a:p>
            <a:pPr defTabSz="609585" rtl="0">
              <a:lnSpc>
                <a:spcPct val="91667"/>
              </a:lnSpc>
            </a:pPr>
            <a:r>
              <a:rPr lang="ru-RU" sz="2800" kern="1200" dirty="0">
                <a:solidFill>
                  <a:srgbClr val="000000"/>
                </a:solidFill>
                <a:latin typeface="MTS Wide Medium" pitchFamily="34" charset="0"/>
                <a:ea typeface="MTS Wide Medium" pitchFamily="34" charset="-122"/>
                <a:cs typeface="MTS Wide Medium" pitchFamily="34" charset="-120"/>
                <a:sym typeface="Arial"/>
              </a:rPr>
              <a:t>от базовых платформ до </a:t>
            </a:r>
            <a:r>
              <a:rPr lang="en-US" sz="2800" kern="1200" dirty="0" smtClean="0">
                <a:solidFill>
                  <a:srgbClr val="000000"/>
                </a:solidFill>
                <a:latin typeface="MTS Wide Medium" pitchFamily="34" charset="0"/>
                <a:ea typeface="MTS Wide Medium" pitchFamily="34" charset="-122"/>
                <a:cs typeface="MTS Wide Medium" pitchFamily="34" charset="-120"/>
                <a:sym typeface="Arial"/>
              </a:rPr>
              <a:t>Industrial</a:t>
            </a:r>
            <a:r>
              <a:rPr lang="ru-RU" sz="2800" kern="1200" dirty="0" smtClean="0">
                <a:solidFill>
                  <a:srgbClr val="000000"/>
                </a:solidFill>
                <a:latin typeface="MTS Wide Medium" pitchFamily="34" charset="0"/>
                <a:ea typeface="MTS Wide Medium" pitchFamily="34" charset="-122"/>
                <a:cs typeface="MTS Wide Medium" pitchFamily="34" charset="-120"/>
                <a:sym typeface="Arial"/>
              </a:rPr>
              <a:t> </a:t>
            </a:r>
            <a:r>
              <a:rPr lang="en-US" sz="2800" kern="1200" dirty="0" smtClean="0">
                <a:solidFill>
                  <a:srgbClr val="000000"/>
                </a:solidFill>
                <a:latin typeface="MTS Wide Medium" pitchFamily="34" charset="0"/>
                <a:ea typeface="MTS Wide Medium" pitchFamily="34" charset="-122"/>
                <a:cs typeface="MTS Wide Medium" pitchFamily="34" charset="-120"/>
                <a:sym typeface="Arial"/>
              </a:rPr>
              <a:t>AI</a:t>
            </a:r>
            <a:endParaRPr lang="en-US" sz="2800" kern="1200" dirty="0">
              <a:solidFill>
                <a:prstClr val="black"/>
              </a:solidFill>
              <a:latin typeface="Calibri" panose="020F0502020204030204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9925811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475534318" name="Text Placeholder 14"/>
          <p:cNvSpPr>
            <a:spLocks noGrp="1"/>
          </p:cNvSpPr>
          <p:nvPr>
            <p:ph type="body" sz="quarter" idx="27" hasCustomPrompt="1"/>
          </p:nvPr>
        </p:nvSpPr>
        <p:spPr bwMode="auto">
          <a:xfrm>
            <a:off x="5098475" y="1492979"/>
            <a:ext cx="6324463" cy="4753145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10000"/>
              </a:lnSpc>
              <a:spcBef>
                <a:spcPts val="0"/>
              </a:spcBef>
              <a:spcAft>
                <a:spcPts val="900"/>
              </a:spcAft>
              <a:buFontTx/>
              <a:buNone/>
              <a:defRPr sz="1800" b="0" i="0" spc="0">
                <a:latin typeface="MTS Text"/>
                <a:ea typeface="MTS Text"/>
              </a:defRPr>
            </a:lvl1pPr>
            <a:lvl2pPr marL="483751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01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53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04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>
              <a:spcBef>
                <a:spcPts val="1200"/>
              </a:spcBef>
              <a:spcAft>
                <a:spcPts val="1200"/>
              </a:spcAft>
            </a:pPr>
            <a:r>
              <a:rPr lang="ru-RU" sz="2000" b="1" dirty="0" err="1" smtClean="0"/>
              <a:t>Канбан</a:t>
            </a:r>
            <a:r>
              <a:rPr lang="ru-RU" sz="2000" dirty="0" smtClean="0"/>
              <a:t> </a:t>
            </a:r>
            <a:r>
              <a:rPr lang="ru-RU" sz="2000" dirty="0"/>
              <a:t>— бумажные карточки как сигнальная система</a:t>
            </a:r>
          </a:p>
          <a:p>
            <a:pPr>
              <a:spcBef>
                <a:spcPts val="1200"/>
              </a:spcBef>
              <a:spcAft>
                <a:spcPts val="1200"/>
              </a:spcAft>
            </a:pPr>
            <a:r>
              <a:rPr lang="ru-RU" sz="2000" b="1" dirty="0" err="1" smtClean="0"/>
              <a:t>Андон</a:t>
            </a:r>
            <a:r>
              <a:rPr lang="ru-RU" sz="2000" b="1" dirty="0" smtClean="0"/>
              <a:t> </a:t>
            </a:r>
            <a:r>
              <a:rPr lang="ru-RU" sz="2000" dirty="0"/>
              <a:t>— шнур, за который дёргает рабочий при обнаружении дефекта</a:t>
            </a:r>
          </a:p>
          <a:p>
            <a:pPr>
              <a:spcBef>
                <a:spcPts val="1200"/>
              </a:spcBef>
              <a:spcAft>
                <a:spcPts val="1200"/>
              </a:spcAft>
            </a:pPr>
            <a:r>
              <a:rPr lang="ru-RU" sz="2000" b="1" dirty="0" err="1" smtClean="0"/>
              <a:t>Кайдзен</a:t>
            </a:r>
            <a:r>
              <a:rPr lang="ru-RU" sz="2000" b="1" dirty="0" smtClean="0"/>
              <a:t> </a:t>
            </a:r>
            <a:r>
              <a:rPr lang="ru-RU" sz="2000" dirty="0"/>
              <a:t>— непрерывное улучшение силами людей</a:t>
            </a:r>
          </a:p>
          <a:p>
            <a:pPr>
              <a:spcBef>
                <a:spcPts val="1200"/>
              </a:spcBef>
              <a:spcAft>
                <a:spcPts val="1200"/>
              </a:spcAft>
            </a:pPr>
            <a:r>
              <a:rPr lang="ru-RU" sz="2000" b="1" dirty="0" err="1" smtClean="0"/>
              <a:t>Just-in-Time</a:t>
            </a:r>
            <a:r>
              <a:rPr lang="ru-RU" sz="2000" dirty="0" smtClean="0"/>
              <a:t> </a:t>
            </a:r>
            <a:r>
              <a:rPr lang="ru-RU" sz="2000" dirty="0"/>
              <a:t>— точно вовремя, без цифрового прогнозирования</a:t>
            </a:r>
          </a:p>
        </p:txBody>
      </p:sp>
      <p:sp>
        <p:nvSpPr>
          <p:cNvPr id="69552826" name="Slide Number Placeholder 2"/>
          <p:cNvSpPr>
            <a:spLocks noGrp="1"/>
          </p:cNvSpPr>
          <p:nvPr>
            <p:ph type="sldNum" sz="quarter" idx="4"/>
          </p:nvPr>
        </p:nvSpPr>
        <p:spPr bwMode="auto">
          <a:xfrm>
            <a:off x="11478355" y="6504739"/>
            <a:ext cx="515937" cy="181885"/>
          </a:xfrm>
          <a:prstGeom prst="rect">
            <a:avLst/>
          </a:prstGeom>
        </p:spPr>
        <p:txBody>
          <a:bodyPr/>
          <a:lstStyle>
            <a:lvl1pPr algn="r">
              <a:defRPr sz="900" b="0" i="0">
                <a:solidFill>
                  <a:schemeClr val="bg1">
                    <a:lumMod val="75000"/>
                  </a:schemeClr>
                </a:solidFill>
                <a:latin typeface="MTS Wide"/>
                <a:ea typeface="MTS Wide"/>
                <a:cs typeface="+mn-cs"/>
              </a:defRPr>
            </a:lvl1pPr>
          </a:lstStyle>
          <a:p>
            <a:pPr defTabSz="430123">
              <a:defRPr/>
            </a:pPr>
            <a:fld id="{1F111660-E2DD-F742-60DC-2C9DC193D373}" type="slidenum">
              <a:rPr lang="ru-RU"/>
              <a:t>3</a:t>
            </a:fld>
            <a:endParaRPr lang="ru-RU"/>
          </a:p>
        </p:txBody>
      </p:sp>
      <p:sp>
        <p:nvSpPr>
          <p:cNvPr id="1151449385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515938" y="237170"/>
            <a:ext cx="10685463" cy="477172"/>
          </a:xfrm>
        </p:spPr>
        <p:txBody>
          <a:bodyPr/>
          <a:lstStyle>
            <a:lvl1pPr>
              <a:defRPr sz="3200"/>
            </a:lvl1pPr>
          </a:lstStyle>
          <a:p>
            <a:r>
              <a:rPr lang="ru-RU" sz="2800" dirty="0" err="1"/>
              <a:t>Toyota</a:t>
            </a:r>
            <a:r>
              <a:rPr lang="ru-RU" sz="2800" dirty="0"/>
              <a:t> </a:t>
            </a:r>
            <a:r>
              <a:rPr lang="en-US" sz="2800" dirty="0"/>
              <a:t>1950</a:t>
            </a:r>
            <a:r>
              <a:rPr lang="ru-RU" sz="2800" dirty="0"/>
              <a:t>-19</a:t>
            </a:r>
            <a:r>
              <a:rPr lang="en-US" sz="2800" dirty="0"/>
              <a:t>80</a:t>
            </a:r>
            <a:r>
              <a:rPr lang="ru-RU" sz="2800" dirty="0" smtClean="0"/>
              <a:t>— </a:t>
            </a:r>
            <a:r>
              <a:rPr lang="ru-RU" sz="2800" dirty="0"/>
              <a:t>революция без </a:t>
            </a:r>
            <a:r>
              <a:rPr lang="ru-RU" sz="2800" dirty="0" smtClean="0"/>
              <a:t>AI</a:t>
            </a:r>
            <a:r>
              <a:rPr lang="en-US" sz="2800" dirty="0" smtClean="0"/>
              <a:t>, Robotics, </a:t>
            </a:r>
            <a:r>
              <a:rPr lang="ru-RU" sz="2800" dirty="0" smtClean="0"/>
              <a:t>НОВЫХ технологий связи</a:t>
            </a:r>
            <a:endParaRPr lang="ru-RU" sz="2800" dirty="0"/>
          </a:p>
        </p:txBody>
      </p:sp>
      <p:pic>
        <p:nvPicPr>
          <p:cNvPr id="1026" name="Picture 2" descr="Picture background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632" b="16603"/>
          <a:stretch/>
        </p:blipFill>
        <p:spPr bwMode="auto">
          <a:xfrm>
            <a:off x="98174" y="1588655"/>
            <a:ext cx="4814222" cy="32142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Прямоугольник 4"/>
          <p:cNvSpPr/>
          <p:nvPr/>
        </p:nvSpPr>
        <p:spPr>
          <a:xfrm>
            <a:off x="483847" y="4996309"/>
            <a:ext cx="10994507" cy="1384995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r>
              <a:rPr lang="ru-RU" sz="2800" dirty="0" smtClean="0">
                <a:solidFill>
                  <a:schemeClr val="accent4"/>
                </a:solidFill>
              </a:rPr>
              <a:t>TOYOTA </a:t>
            </a:r>
            <a:r>
              <a:rPr lang="ru-RU" sz="2800" b="1" dirty="0" smtClean="0">
                <a:solidFill>
                  <a:schemeClr val="accent4"/>
                </a:solidFill>
              </a:rPr>
              <a:t>ОБОГНАЛА</a:t>
            </a:r>
            <a:r>
              <a:rPr lang="ru-RU" sz="2800" dirty="0" smtClean="0">
                <a:solidFill>
                  <a:schemeClr val="accent4"/>
                </a:solidFill>
              </a:rPr>
              <a:t> GENERAL MOTORS, СТАВ </a:t>
            </a:r>
            <a:r>
              <a:rPr lang="ru-RU" sz="2800" b="1" dirty="0" smtClean="0">
                <a:solidFill>
                  <a:schemeClr val="accent4"/>
                </a:solidFill>
              </a:rPr>
              <a:t>САМЫМ ЭФФЕКТИВНЫМ</a:t>
            </a:r>
            <a:r>
              <a:rPr lang="ru-RU" sz="2800" dirty="0" smtClean="0">
                <a:solidFill>
                  <a:schemeClr val="accent4"/>
                </a:solidFill>
              </a:rPr>
              <a:t> АВТОПРОИЗВОДИТЕЛЕМ МИРА… </a:t>
            </a:r>
          </a:p>
          <a:p>
            <a:r>
              <a:rPr lang="ru-RU" sz="2800" dirty="0" smtClean="0">
                <a:solidFill>
                  <a:schemeClr val="accent4"/>
                </a:solidFill>
              </a:rPr>
              <a:t>НО ЭТОТ ПРОЦЕСС </a:t>
            </a:r>
            <a:r>
              <a:rPr lang="ru-RU" sz="2800" b="1" dirty="0" smtClean="0">
                <a:solidFill>
                  <a:schemeClr val="accent4"/>
                </a:solidFill>
              </a:rPr>
              <a:t>ЗАНЯЛ ДОЛГИЕ 30 ЛЕТ</a:t>
            </a:r>
            <a:endParaRPr lang="ru-RU" sz="2800" b="1" dirty="0">
              <a:solidFill>
                <a:schemeClr val="accent4"/>
              </a:solidFill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446903" y="6406242"/>
            <a:ext cx="11384879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err="1" smtClean="0">
                <a:solidFill>
                  <a:schemeClr val="tx2">
                    <a:lumMod val="50000"/>
                    <a:lumOff val="50000"/>
                  </a:schemeClr>
                </a:solidFill>
              </a:rPr>
              <a:t>Источник</a:t>
            </a:r>
            <a:r>
              <a:rPr lang="en-US" sz="1200" dirty="0" smtClean="0">
                <a:solidFill>
                  <a:schemeClr val="tx2">
                    <a:lumMod val="50000"/>
                    <a:lumOff val="50000"/>
                  </a:schemeClr>
                </a:solidFill>
              </a:rPr>
              <a:t>:</a:t>
            </a:r>
            <a:r>
              <a:rPr lang="ru-RU" sz="1200" dirty="0" smtClean="0">
                <a:solidFill>
                  <a:schemeClr val="tx2">
                    <a:lumMod val="50000"/>
                    <a:lumOff val="50000"/>
                  </a:schemeClr>
                </a:solidFill>
              </a:rPr>
              <a:t> </a:t>
            </a:r>
            <a:r>
              <a:rPr lang="en-US" sz="1200" dirty="0" err="1" smtClean="0">
                <a:solidFill>
                  <a:schemeClr val="tx2">
                    <a:lumMod val="50000"/>
                    <a:lumOff val="50000"/>
                  </a:schemeClr>
                </a:solidFill>
              </a:rPr>
              <a:t>Taiichi</a:t>
            </a:r>
            <a:r>
              <a:rPr lang="en-US" sz="1200" dirty="0" smtClean="0">
                <a:solidFill>
                  <a:schemeClr val="tx2">
                    <a:lumMod val="50000"/>
                    <a:lumOff val="50000"/>
                  </a:schemeClr>
                </a:solidFill>
              </a:rPr>
              <a:t> </a:t>
            </a:r>
            <a:r>
              <a:rPr lang="en-US" sz="1200" dirty="0" err="1">
                <a:solidFill>
                  <a:schemeClr val="tx2">
                    <a:lumMod val="50000"/>
                    <a:lumOff val="50000"/>
                  </a:schemeClr>
                </a:solidFill>
              </a:rPr>
              <a:t>Ohno</a:t>
            </a:r>
            <a:r>
              <a:rPr lang="en-US" sz="1200" dirty="0">
                <a:solidFill>
                  <a:schemeClr val="tx2">
                    <a:lumMod val="50000"/>
                    <a:lumOff val="50000"/>
                  </a:schemeClr>
                </a:solidFill>
              </a:rPr>
              <a:t>, «Toyota Production System», 1988; Womack, Jones, </a:t>
            </a:r>
            <a:r>
              <a:rPr lang="en-US" sz="1200" dirty="0" err="1">
                <a:solidFill>
                  <a:schemeClr val="tx2">
                    <a:lumMod val="50000"/>
                    <a:lumOff val="50000"/>
                  </a:schemeClr>
                </a:solidFill>
              </a:rPr>
              <a:t>Roos</a:t>
            </a:r>
            <a:r>
              <a:rPr lang="en-US" sz="1200" dirty="0">
                <a:solidFill>
                  <a:schemeClr val="tx2">
                    <a:lumMod val="50000"/>
                    <a:lumOff val="50000"/>
                  </a:schemeClr>
                </a:solidFill>
              </a:rPr>
              <a:t>, «The Machine That Changed the World», MIT, 1990.</a:t>
            </a:r>
            <a:endParaRPr lang="ru-RU" sz="1200" dirty="0">
              <a:solidFill>
                <a:schemeClr val="tx2">
                  <a:lumMod val="50000"/>
                  <a:lumOff val="50000"/>
                </a:schemeClr>
              </a:solidFill>
            </a:endParaRPr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/>
    </mc:Choice>
    <mc:Fallback xmlns:w="http://schemas.openxmlformats.org/wordprocessingml/2006/main" xmlns:m="http://schemas.openxmlformats.org/officeDocument/2006/math" xmlns="">
      <p:transition advClick="1"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pic>
        <p:nvPicPr>
          <p:cNvPr id="2054" name="Picture 6" descr="https://www.securitylab.ru/upload/medialibrary/7e1/a9wdhsjvjfirhtd6xtghl3vbnfhoi0gi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75419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Прямоугольник 1"/>
          <p:cNvSpPr/>
          <p:nvPr/>
        </p:nvSpPr>
        <p:spPr bwMode="auto">
          <a:xfrm>
            <a:off x="0" y="0"/>
            <a:ext cx="12192000" cy="7541932"/>
          </a:xfrm>
          <a:prstGeom prst="rect">
            <a:avLst/>
          </a:prstGeom>
          <a:solidFill>
            <a:schemeClr val="bg1">
              <a:lumMod val="50000"/>
              <a:alpha val="8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9552826" name="Slide Number Placeholder 2"/>
          <p:cNvSpPr>
            <a:spLocks noGrp="1"/>
          </p:cNvSpPr>
          <p:nvPr>
            <p:ph type="sldNum" sz="quarter" idx="4"/>
          </p:nvPr>
        </p:nvSpPr>
        <p:spPr bwMode="auto">
          <a:xfrm>
            <a:off x="11478355" y="6504739"/>
            <a:ext cx="515937" cy="181885"/>
          </a:xfrm>
          <a:prstGeom prst="rect">
            <a:avLst/>
          </a:prstGeom>
        </p:spPr>
        <p:txBody>
          <a:bodyPr/>
          <a:lstStyle>
            <a:lvl1pPr algn="r">
              <a:defRPr sz="900" b="0" i="0">
                <a:solidFill>
                  <a:schemeClr val="bg1">
                    <a:lumMod val="75000"/>
                  </a:schemeClr>
                </a:solidFill>
                <a:latin typeface="MTS Wide"/>
                <a:ea typeface="MTS Wide"/>
                <a:cs typeface="+mn-cs"/>
              </a:defRPr>
            </a:lvl1pPr>
          </a:lstStyle>
          <a:p>
            <a:pPr defTabSz="430123">
              <a:defRPr/>
            </a:pPr>
            <a:fld id="{1F111660-E2DD-F742-60DC-2C9DC193D373}" type="slidenum">
              <a:rPr lang="ru-RU"/>
              <a:t>4</a:t>
            </a:fld>
            <a:endParaRPr lang="ru-RU"/>
          </a:p>
        </p:txBody>
      </p:sp>
      <p:sp>
        <p:nvSpPr>
          <p:cNvPr id="1151449385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515938" y="237170"/>
            <a:ext cx="10685463" cy="477172"/>
          </a:xfrm>
        </p:spPr>
        <p:txBody>
          <a:bodyPr/>
          <a:lstStyle>
            <a:lvl1pPr>
              <a:defRPr sz="3200"/>
            </a:lvl1pPr>
          </a:lstStyle>
          <a:p>
            <a:r>
              <a:rPr lang="ru-RU" sz="2800" dirty="0" smtClean="0">
                <a:solidFill>
                  <a:schemeClr val="bg1"/>
                </a:solidFill>
              </a:rPr>
              <a:t>НО ТЕПЕРЬ </a:t>
            </a:r>
            <a:r>
              <a:rPr lang="en-US" sz="2800" dirty="0" smtClean="0">
                <a:solidFill>
                  <a:schemeClr val="bg1"/>
                </a:solidFill>
              </a:rPr>
              <a:t>TOYOTA</a:t>
            </a:r>
            <a:r>
              <a:rPr lang="ru-RU" sz="2800" dirty="0" smtClean="0">
                <a:solidFill>
                  <a:schemeClr val="bg1"/>
                </a:solidFill>
              </a:rPr>
              <a:t> — </a:t>
            </a:r>
            <a:r>
              <a:rPr lang="ru-RU" sz="2800" dirty="0">
                <a:solidFill>
                  <a:schemeClr val="bg1"/>
                </a:solidFill>
              </a:rPr>
              <a:t>один из крупнейших инвесторов в AI и </a:t>
            </a:r>
            <a:r>
              <a:rPr lang="ru-RU" sz="2800" dirty="0" smtClean="0">
                <a:solidFill>
                  <a:schemeClr val="bg1"/>
                </a:solidFill>
              </a:rPr>
              <a:t>робототехнику</a:t>
            </a:r>
            <a:endParaRPr lang="ru-RU" sz="2800" dirty="0">
              <a:solidFill>
                <a:schemeClr val="bg1"/>
              </a:solidFill>
            </a:endParaRPr>
          </a:p>
        </p:txBody>
      </p:sp>
      <p:pic>
        <p:nvPicPr>
          <p:cNvPr id="2050" name="Picture 2" descr="Компания Toyota уже отправляла своего человекоподобного робота Kirobo на Международную космическую станцию (МКС). Теперь компания объявила, что инвестирует 1 миллиард долларов в исследовательскую компанию, которую она создает в Кремниевой долине.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5938" y="1311692"/>
            <a:ext cx="4124615" cy="27389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2" name="Picture 4" descr="https://avatars.mds.yandex.net/get-vertis-journal/4471904/digit.jpg_1771592925713/orig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716" r="7599"/>
          <a:stretch/>
        </p:blipFill>
        <p:spPr bwMode="auto">
          <a:xfrm>
            <a:off x="515937" y="4228873"/>
            <a:ext cx="4124615" cy="28217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name_54"/>
          <p:cNvSpPr/>
          <p:nvPr/>
        </p:nvSpPr>
        <p:spPr>
          <a:xfrm>
            <a:off x="7738874" y="4355573"/>
            <a:ext cx="4102606" cy="830997"/>
          </a:xfrm>
          <a:prstGeom prst="rect">
            <a:avLst/>
          </a:prstGeom>
          <a:noFill/>
          <a:ln/>
        </p:spPr>
        <p:txBody>
          <a:bodyPr wrap="square" lIns="0" tIns="0" rIns="0" bIns="0" rtlCol="0" anchor="t">
            <a:spAutoFit/>
          </a:bodyPr>
          <a:lstStyle/>
          <a:p>
            <a:pPr defTabSz="914445">
              <a:defRPr/>
            </a:pPr>
            <a:r>
              <a:rPr lang="ru-RU" sz="2700" dirty="0" smtClean="0">
                <a:solidFill>
                  <a:schemeClr val="bg1"/>
                </a:solidFill>
                <a:latin typeface="MTS Extended Medium"/>
                <a:ea typeface="MTS Wide Medium" pitchFamily="34" charset="-122"/>
              </a:rPr>
              <a:t>В ИИ совместно с </a:t>
            </a:r>
            <a:r>
              <a:rPr lang="en-US" sz="2700" dirty="0" smtClean="0">
                <a:solidFill>
                  <a:schemeClr val="bg1"/>
                </a:solidFill>
                <a:latin typeface="MTS Extended Medium"/>
                <a:ea typeface="MTS Wide Medium" pitchFamily="34" charset="-122"/>
              </a:rPr>
              <a:t>NTT (2024)</a:t>
            </a:r>
            <a:endParaRPr lang="en-US" sz="2700" dirty="0">
              <a:solidFill>
                <a:schemeClr val="bg1"/>
              </a:solidFill>
              <a:latin typeface="MTS Extended Medium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890B3581-A89D-45BE-8994-0460E5D7B208}"/>
              </a:ext>
            </a:extLst>
          </p:cNvPr>
          <p:cNvSpPr txBox="1"/>
          <p:nvPr/>
        </p:nvSpPr>
        <p:spPr>
          <a:xfrm>
            <a:off x="5156491" y="4114566"/>
            <a:ext cx="2499673" cy="160043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marR="0" lvl="0" indent="0" defTabSz="967438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600" b="0" i="0" u="none" strike="noStrike" cap="none" spc="0" normalizeH="0">
                <a:ln>
                  <a:noFill/>
                </a:ln>
                <a:solidFill>
                  <a:srgbClr val="1D2023"/>
                </a:solidFill>
                <a:effectLst/>
                <a:uLnTx/>
                <a:uFillTx/>
                <a:latin typeface="+mj-lt"/>
                <a:ea typeface="MTS Extended" panose="020B0306020102020303" pitchFamily="34" charset="0"/>
              </a:defRPr>
            </a:lvl1pPr>
            <a:lvl2pPr marL="483718" indent="0" defTabSz="967438">
              <a:spcBef>
                <a:spcPct val="20000"/>
              </a:spcBef>
              <a:buFontTx/>
              <a:buNone/>
              <a:defRPr sz="2962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436" indent="0" defTabSz="967438">
              <a:spcBef>
                <a:spcPct val="20000"/>
              </a:spcBef>
              <a:buFontTx/>
              <a:buNone/>
              <a:defRPr sz="2540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157" indent="0" defTabSz="967438">
              <a:spcBef>
                <a:spcPct val="20000"/>
              </a:spcBef>
              <a:buFontTx/>
              <a:buNone/>
              <a:defRPr sz="2116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4875" indent="0" defTabSz="967438">
              <a:spcBef>
                <a:spcPct val="20000"/>
              </a:spcBef>
              <a:buFontTx/>
              <a:buNone/>
              <a:defRPr sz="2116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  <a:lvl6pPr marL="2660452" indent="-241860" defTabSz="967438">
              <a:spcBef>
                <a:spcPct val="20000"/>
              </a:spcBef>
              <a:buFont typeface="Arial" pitchFamily="34" charset="0"/>
              <a:buChar char="•"/>
              <a:defRPr sz="2116"/>
            </a:lvl6pPr>
            <a:lvl7pPr marL="3144173" indent="-241860" defTabSz="967438">
              <a:spcBef>
                <a:spcPct val="20000"/>
              </a:spcBef>
              <a:buFont typeface="Arial" pitchFamily="34" charset="0"/>
              <a:buChar char="•"/>
              <a:defRPr sz="2116"/>
            </a:lvl7pPr>
            <a:lvl8pPr marL="3627891" indent="-241860" defTabSz="967438">
              <a:spcBef>
                <a:spcPct val="20000"/>
              </a:spcBef>
              <a:buFont typeface="Arial" pitchFamily="34" charset="0"/>
              <a:buChar char="•"/>
              <a:defRPr sz="2116"/>
            </a:lvl8pPr>
            <a:lvl9pPr marL="4111610" indent="-241860" defTabSz="967438">
              <a:spcBef>
                <a:spcPct val="20000"/>
              </a:spcBef>
              <a:buFont typeface="Arial" pitchFamily="34" charset="0"/>
              <a:buChar char="•"/>
              <a:defRPr sz="2116"/>
            </a:lvl9pPr>
          </a:lstStyle>
          <a:p>
            <a:pPr defTabSz="1451157">
              <a:defRPr/>
            </a:pPr>
            <a:r>
              <a:rPr lang="en-US" sz="6000" dirty="0" smtClean="0">
                <a:solidFill>
                  <a:schemeClr val="accent3">
                    <a:lumMod val="75000"/>
                  </a:schemeClr>
                </a:solidFill>
                <a:latin typeface="MTS Extended Medium"/>
              </a:rPr>
              <a:t>3,3</a:t>
            </a:r>
            <a:r>
              <a:rPr lang="en-US" sz="8000" dirty="0" smtClean="0">
                <a:solidFill>
                  <a:schemeClr val="accent3">
                    <a:lumMod val="75000"/>
                  </a:schemeClr>
                </a:solidFill>
                <a:latin typeface="MTS Extended Medium"/>
              </a:rPr>
              <a:t> </a:t>
            </a:r>
            <a:r>
              <a:rPr lang="ru-RU" sz="2400" dirty="0" smtClean="0">
                <a:solidFill>
                  <a:schemeClr val="accent3">
                    <a:lumMod val="75000"/>
                  </a:schemeClr>
                </a:solidFill>
                <a:latin typeface="MTS Extended Medium"/>
              </a:rPr>
              <a:t>млрд </a:t>
            </a:r>
            <a:r>
              <a:rPr lang="en-US" sz="2400" dirty="0" smtClean="0">
                <a:solidFill>
                  <a:schemeClr val="accent3">
                    <a:lumMod val="75000"/>
                  </a:schemeClr>
                </a:solidFill>
                <a:latin typeface="MTS Extended Medium"/>
              </a:rPr>
              <a:t>$</a:t>
            </a:r>
            <a:endParaRPr lang="ru-RU" sz="2400" dirty="0">
              <a:solidFill>
                <a:schemeClr val="accent3">
                  <a:lumMod val="75000"/>
                </a:schemeClr>
              </a:solidFill>
              <a:latin typeface="MTS Extended Medium"/>
            </a:endParaRPr>
          </a:p>
        </p:txBody>
      </p:sp>
      <p:sp>
        <p:nvSpPr>
          <p:cNvPr id="14" name="name_54"/>
          <p:cNvSpPr/>
          <p:nvPr/>
        </p:nvSpPr>
        <p:spPr bwMode="auto">
          <a:xfrm>
            <a:off x="7656165" y="2593422"/>
            <a:ext cx="4102606" cy="830997"/>
          </a:xfrm>
          <a:prstGeom prst="rect">
            <a:avLst/>
          </a:prstGeom>
          <a:noFill/>
          <a:ln/>
        </p:spPr>
        <p:txBody>
          <a:bodyPr wrap="square" lIns="0" tIns="0" rIns="0" bIns="0" rtlCol="0" anchor="t">
            <a:spAutoFit/>
          </a:bodyPr>
          <a:lstStyle/>
          <a:p>
            <a:pPr defTabSz="914445">
              <a:defRPr/>
            </a:pPr>
            <a:r>
              <a:rPr lang="ru-RU" sz="2700" dirty="0" smtClean="0">
                <a:solidFill>
                  <a:schemeClr val="bg1"/>
                </a:solidFill>
                <a:latin typeface="MTS Extended Medium"/>
                <a:ea typeface="MTS Wide Medium" pitchFamily="34" charset="-122"/>
              </a:rPr>
              <a:t>Анонс 2020 – заселение 2025</a:t>
            </a:r>
            <a:endParaRPr lang="en-US" sz="2700" dirty="0">
              <a:solidFill>
                <a:schemeClr val="bg1"/>
              </a:solidFill>
              <a:latin typeface="MTS Extended Medium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90B3581-A89D-45BE-8994-0460E5D7B208}"/>
              </a:ext>
            </a:extLst>
          </p:cNvPr>
          <p:cNvSpPr txBox="1"/>
          <p:nvPr/>
        </p:nvSpPr>
        <p:spPr bwMode="auto">
          <a:xfrm>
            <a:off x="5073782" y="2489575"/>
            <a:ext cx="2858085" cy="153888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marR="0" lvl="0" indent="0" defTabSz="967438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600" b="0" i="0" u="none" strike="noStrike" cap="none" spc="0" normalizeH="0">
                <a:ln>
                  <a:noFill/>
                </a:ln>
                <a:solidFill>
                  <a:srgbClr val="1D2023"/>
                </a:solidFill>
                <a:effectLst/>
                <a:uLnTx/>
                <a:uFillTx/>
                <a:latin typeface="+mj-lt"/>
                <a:ea typeface="MTS Extended" panose="020B0306020102020303" pitchFamily="34" charset="0"/>
              </a:defRPr>
            </a:lvl1pPr>
            <a:lvl2pPr marL="483718" indent="0" defTabSz="967438">
              <a:spcBef>
                <a:spcPct val="20000"/>
              </a:spcBef>
              <a:buFontTx/>
              <a:buNone/>
              <a:defRPr sz="2962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436" indent="0" defTabSz="967438">
              <a:spcBef>
                <a:spcPct val="20000"/>
              </a:spcBef>
              <a:buFontTx/>
              <a:buNone/>
              <a:defRPr sz="2540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157" indent="0" defTabSz="967438">
              <a:spcBef>
                <a:spcPct val="20000"/>
              </a:spcBef>
              <a:buFontTx/>
              <a:buNone/>
              <a:defRPr sz="2116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4875" indent="0" defTabSz="967438">
              <a:spcBef>
                <a:spcPct val="20000"/>
              </a:spcBef>
              <a:buFontTx/>
              <a:buNone/>
              <a:defRPr sz="2116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  <a:lvl6pPr marL="2660452" indent="-241860" defTabSz="967438">
              <a:spcBef>
                <a:spcPct val="20000"/>
              </a:spcBef>
              <a:buFont typeface="Arial" pitchFamily="34" charset="0"/>
              <a:buChar char="•"/>
              <a:defRPr sz="2116"/>
            </a:lvl6pPr>
            <a:lvl7pPr marL="3144173" indent="-241860" defTabSz="967438">
              <a:spcBef>
                <a:spcPct val="20000"/>
              </a:spcBef>
              <a:buFont typeface="Arial" pitchFamily="34" charset="0"/>
              <a:buChar char="•"/>
              <a:defRPr sz="2116"/>
            </a:lvl7pPr>
            <a:lvl8pPr marL="3627891" indent="-241860" defTabSz="967438">
              <a:spcBef>
                <a:spcPct val="20000"/>
              </a:spcBef>
              <a:buFont typeface="Arial" pitchFamily="34" charset="0"/>
              <a:buChar char="•"/>
              <a:defRPr sz="2116"/>
            </a:lvl8pPr>
            <a:lvl9pPr marL="4111610" indent="-241860" defTabSz="967438">
              <a:spcBef>
                <a:spcPct val="20000"/>
              </a:spcBef>
              <a:buFont typeface="Arial" pitchFamily="34" charset="0"/>
              <a:buChar char="•"/>
              <a:defRPr sz="2116"/>
            </a:lvl9pPr>
          </a:lstStyle>
          <a:p>
            <a:pPr defTabSz="1451157">
              <a:defRPr/>
            </a:pPr>
            <a:r>
              <a:rPr lang="en-US" sz="4000" dirty="0" smtClean="0">
                <a:solidFill>
                  <a:schemeClr val="accent3">
                    <a:lumMod val="75000"/>
                  </a:schemeClr>
                </a:solidFill>
                <a:latin typeface="MTS Extended Medium"/>
              </a:rPr>
              <a:t>Woven City </a:t>
            </a:r>
            <a:r>
              <a:rPr lang="en-US" sz="2000" dirty="0" smtClean="0">
                <a:solidFill>
                  <a:schemeClr val="accent3">
                    <a:lumMod val="75000"/>
                  </a:schemeClr>
                </a:solidFill>
                <a:latin typeface="MTS Extended Medium"/>
              </a:rPr>
              <a:t>(</a:t>
            </a:r>
            <a:r>
              <a:rPr lang="ru-RU" sz="2000" dirty="0" err="1" smtClean="0">
                <a:solidFill>
                  <a:schemeClr val="accent3">
                    <a:lumMod val="75000"/>
                  </a:schemeClr>
                </a:solidFill>
                <a:latin typeface="MTS Extended Medium"/>
              </a:rPr>
              <a:t>робогород</a:t>
            </a:r>
            <a:r>
              <a:rPr lang="ru-RU" sz="2000" dirty="0" smtClean="0">
                <a:solidFill>
                  <a:schemeClr val="accent3">
                    <a:lumMod val="75000"/>
                  </a:schemeClr>
                </a:solidFill>
                <a:latin typeface="MTS Extended Medium"/>
              </a:rPr>
              <a:t>)</a:t>
            </a:r>
            <a:endParaRPr lang="ru-RU" sz="1100" dirty="0">
              <a:solidFill>
                <a:schemeClr val="accent3">
                  <a:lumMod val="75000"/>
                </a:schemeClr>
              </a:solidFill>
              <a:latin typeface="MTS Extended Medium"/>
            </a:endParaRPr>
          </a:p>
        </p:txBody>
      </p:sp>
      <p:sp>
        <p:nvSpPr>
          <p:cNvPr id="16" name="name_54"/>
          <p:cNvSpPr/>
          <p:nvPr/>
        </p:nvSpPr>
        <p:spPr bwMode="auto">
          <a:xfrm>
            <a:off x="7738874" y="5855011"/>
            <a:ext cx="4102606" cy="1246495"/>
          </a:xfrm>
          <a:prstGeom prst="rect">
            <a:avLst/>
          </a:prstGeom>
          <a:noFill/>
          <a:ln/>
        </p:spPr>
        <p:txBody>
          <a:bodyPr wrap="square" lIns="0" tIns="0" rIns="0" bIns="0" rtlCol="0" anchor="t">
            <a:spAutoFit/>
          </a:bodyPr>
          <a:lstStyle/>
          <a:p>
            <a:pPr defTabSz="914445">
              <a:defRPr/>
            </a:pPr>
            <a:r>
              <a:rPr lang="ru-RU" sz="2700" dirty="0" smtClean="0">
                <a:solidFill>
                  <a:schemeClr val="bg1"/>
                </a:solidFill>
                <a:latin typeface="MTS Extended Medium"/>
                <a:ea typeface="MTS Wide Medium" pitchFamily="34" charset="-122"/>
              </a:rPr>
              <a:t>Гуманоидов на производстве в 2026</a:t>
            </a:r>
            <a:endParaRPr lang="en-US" sz="2700" dirty="0">
              <a:solidFill>
                <a:schemeClr val="bg1"/>
              </a:solidFill>
              <a:latin typeface="MTS Extended Medium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890B3581-A89D-45BE-8994-0460E5D7B208}"/>
              </a:ext>
            </a:extLst>
          </p:cNvPr>
          <p:cNvSpPr txBox="1"/>
          <p:nvPr/>
        </p:nvSpPr>
        <p:spPr bwMode="auto">
          <a:xfrm>
            <a:off x="5156491" y="5833405"/>
            <a:ext cx="2858085" cy="123110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marR="0" lvl="0" indent="0" defTabSz="967438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600" b="0" i="0" u="none" strike="noStrike" cap="none" spc="0" normalizeH="0">
                <a:ln>
                  <a:noFill/>
                </a:ln>
                <a:solidFill>
                  <a:srgbClr val="1D2023"/>
                </a:solidFill>
                <a:effectLst/>
                <a:uLnTx/>
                <a:uFillTx/>
                <a:latin typeface="+mj-lt"/>
                <a:ea typeface="MTS Extended" panose="020B0306020102020303" pitchFamily="34" charset="0"/>
              </a:defRPr>
            </a:lvl1pPr>
            <a:lvl2pPr marL="483718" indent="0" defTabSz="967438">
              <a:spcBef>
                <a:spcPct val="20000"/>
              </a:spcBef>
              <a:buFontTx/>
              <a:buNone/>
              <a:defRPr sz="2962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436" indent="0" defTabSz="967438">
              <a:spcBef>
                <a:spcPct val="20000"/>
              </a:spcBef>
              <a:buFontTx/>
              <a:buNone/>
              <a:defRPr sz="2540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157" indent="0" defTabSz="967438">
              <a:spcBef>
                <a:spcPct val="20000"/>
              </a:spcBef>
              <a:buFontTx/>
              <a:buNone/>
              <a:defRPr sz="2116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4875" indent="0" defTabSz="967438">
              <a:spcBef>
                <a:spcPct val="20000"/>
              </a:spcBef>
              <a:buFontTx/>
              <a:buNone/>
              <a:defRPr sz="2116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  <a:lvl6pPr marL="2660452" indent="-241860" defTabSz="967438">
              <a:spcBef>
                <a:spcPct val="20000"/>
              </a:spcBef>
              <a:buFont typeface="Arial" pitchFamily="34" charset="0"/>
              <a:buChar char="•"/>
              <a:defRPr sz="2116"/>
            </a:lvl6pPr>
            <a:lvl7pPr marL="3144173" indent="-241860" defTabSz="967438">
              <a:spcBef>
                <a:spcPct val="20000"/>
              </a:spcBef>
              <a:buFont typeface="Arial" pitchFamily="34" charset="0"/>
              <a:buChar char="•"/>
              <a:defRPr sz="2116"/>
            </a:lvl7pPr>
            <a:lvl8pPr marL="3627891" indent="-241860" defTabSz="967438">
              <a:spcBef>
                <a:spcPct val="20000"/>
              </a:spcBef>
              <a:buFont typeface="Arial" pitchFamily="34" charset="0"/>
              <a:buChar char="•"/>
              <a:defRPr sz="2116"/>
            </a:lvl8pPr>
            <a:lvl9pPr marL="4111610" indent="-241860" defTabSz="967438">
              <a:spcBef>
                <a:spcPct val="20000"/>
              </a:spcBef>
              <a:buFont typeface="Arial" pitchFamily="34" charset="0"/>
              <a:buChar char="•"/>
              <a:defRPr sz="2116"/>
            </a:lvl9pPr>
          </a:lstStyle>
          <a:p>
            <a:pPr defTabSz="1451157">
              <a:defRPr/>
            </a:pPr>
            <a:r>
              <a:rPr lang="en-US" sz="6600" dirty="0" smtClean="0">
                <a:solidFill>
                  <a:schemeClr val="accent3">
                    <a:lumMod val="75000"/>
                  </a:schemeClr>
                </a:solidFill>
                <a:latin typeface="MTS Extended Medium"/>
              </a:rPr>
              <a:t>7</a:t>
            </a:r>
            <a:r>
              <a:rPr lang="ru-RU" sz="8000" dirty="0" smtClean="0">
                <a:solidFill>
                  <a:schemeClr val="accent3">
                    <a:lumMod val="75000"/>
                  </a:schemeClr>
                </a:solidFill>
                <a:latin typeface="MTS Extended Medium"/>
              </a:rPr>
              <a:t> </a:t>
            </a:r>
            <a:r>
              <a:rPr lang="ru-RU" sz="4800" dirty="0" smtClean="0">
                <a:solidFill>
                  <a:schemeClr val="accent3">
                    <a:lumMod val="75000"/>
                  </a:schemeClr>
                </a:solidFill>
                <a:latin typeface="MTS Extended Medium"/>
              </a:rPr>
              <a:t>ед.</a:t>
            </a:r>
            <a:endParaRPr lang="ru-RU" sz="2000" dirty="0">
              <a:solidFill>
                <a:schemeClr val="accent3">
                  <a:lumMod val="75000"/>
                </a:schemeClr>
              </a:solidFill>
              <a:latin typeface="MTS Extended Medium"/>
            </a:endParaRPr>
          </a:p>
        </p:txBody>
      </p:sp>
      <p:sp>
        <p:nvSpPr>
          <p:cNvPr id="18" name="name_54"/>
          <p:cNvSpPr/>
          <p:nvPr/>
        </p:nvSpPr>
        <p:spPr bwMode="auto">
          <a:xfrm>
            <a:off x="7656164" y="1354030"/>
            <a:ext cx="4535835" cy="830997"/>
          </a:xfrm>
          <a:prstGeom prst="rect">
            <a:avLst/>
          </a:prstGeom>
          <a:noFill/>
          <a:ln/>
        </p:spPr>
        <p:txBody>
          <a:bodyPr wrap="square" lIns="0" tIns="0" rIns="0" bIns="0" rtlCol="0" anchor="t">
            <a:spAutoFit/>
          </a:bodyPr>
          <a:lstStyle/>
          <a:p>
            <a:pPr defTabSz="914445">
              <a:defRPr/>
            </a:pPr>
            <a:r>
              <a:rPr lang="ru-RU" sz="2700" dirty="0" smtClean="0">
                <a:solidFill>
                  <a:schemeClr val="bg1"/>
                </a:solidFill>
                <a:latin typeface="MTS Extended Medium"/>
                <a:ea typeface="MTS Wide Medium" pitchFamily="34" charset="-122"/>
              </a:rPr>
              <a:t>Инвестиции в </a:t>
            </a:r>
            <a:r>
              <a:rPr lang="en-US" sz="2700" dirty="0" err="1" smtClean="0">
                <a:solidFill>
                  <a:schemeClr val="bg1"/>
                </a:solidFill>
                <a:latin typeface="MTS Extended Medium"/>
                <a:ea typeface="MTS Wide Medium" pitchFamily="34" charset="-122"/>
              </a:rPr>
              <a:t>AI&amp;Robotics</a:t>
            </a:r>
            <a:r>
              <a:rPr lang="en-US" sz="2700" dirty="0" smtClean="0">
                <a:solidFill>
                  <a:schemeClr val="bg1"/>
                </a:solidFill>
                <a:latin typeface="MTS Extended Medium"/>
                <a:ea typeface="MTS Wide Medium" pitchFamily="34" charset="-122"/>
              </a:rPr>
              <a:t> (</a:t>
            </a:r>
            <a:r>
              <a:rPr lang="ru-RU" sz="2700" dirty="0" smtClean="0">
                <a:solidFill>
                  <a:schemeClr val="bg1"/>
                </a:solidFill>
                <a:latin typeface="MTS Extended Medium"/>
                <a:ea typeface="MTS Wide Medium" pitchFamily="34" charset="-122"/>
              </a:rPr>
              <a:t>2016)</a:t>
            </a:r>
            <a:endParaRPr lang="en-US" sz="2700" dirty="0">
              <a:solidFill>
                <a:schemeClr val="bg1"/>
              </a:solidFill>
              <a:latin typeface="MTS Extended Medium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890B3581-A89D-45BE-8994-0460E5D7B208}"/>
              </a:ext>
            </a:extLst>
          </p:cNvPr>
          <p:cNvSpPr txBox="1"/>
          <p:nvPr/>
        </p:nvSpPr>
        <p:spPr bwMode="auto">
          <a:xfrm>
            <a:off x="5073782" y="1250183"/>
            <a:ext cx="2858085" cy="92333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marR="0" lvl="0" indent="0" defTabSz="967438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600" b="0" i="0" u="none" strike="noStrike" cap="none" spc="0" normalizeH="0">
                <a:ln>
                  <a:noFill/>
                </a:ln>
                <a:solidFill>
                  <a:srgbClr val="1D2023"/>
                </a:solidFill>
                <a:effectLst/>
                <a:uLnTx/>
                <a:uFillTx/>
                <a:latin typeface="+mj-lt"/>
                <a:ea typeface="MTS Extended" panose="020B0306020102020303" pitchFamily="34" charset="0"/>
              </a:defRPr>
            </a:lvl1pPr>
            <a:lvl2pPr marL="483718" indent="0" defTabSz="967438">
              <a:spcBef>
                <a:spcPct val="20000"/>
              </a:spcBef>
              <a:buFontTx/>
              <a:buNone/>
              <a:defRPr sz="2962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436" indent="0" defTabSz="967438">
              <a:spcBef>
                <a:spcPct val="20000"/>
              </a:spcBef>
              <a:buFontTx/>
              <a:buNone/>
              <a:defRPr sz="2540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157" indent="0" defTabSz="967438">
              <a:spcBef>
                <a:spcPct val="20000"/>
              </a:spcBef>
              <a:buFontTx/>
              <a:buNone/>
              <a:defRPr sz="2116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4875" indent="0" defTabSz="967438">
              <a:spcBef>
                <a:spcPct val="20000"/>
              </a:spcBef>
              <a:buFontTx/>
              <a:buNone/>
              <a:defRPr sz="2116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  <a:lvl6pPr marL="2660452" indent="-241860" defTabSz="967438">
              <a:spcBef>
                <a:spcPct val="20000"/>
              </a:spcBef>
              <a:buFont typeface="Arial" pitchFamily="34" charset="0"/>
              <a:buChar char="•"/>
              <a:defRPr sz="2116"/>
            </a:lvl6pPr>
            <a:lvl7pPr marL="3144173" indent="-241860" defTabSz="967438">
              <a:spcBef>
                <a:spcPct val="20000"/>
              </a:spcBef>
              <a:buFont typeface="Arial" pitchFamily="34" charset="0"/>
              <a:buChar char="•"/>
              <a:defRPr sz="2116"/>
            </a:lvl7pPr>
            <a:lvl8pPr marL="3627891" indent="-241860" defTabSz="967438">
              <a:spcBef>
                <a:spcPct val="20000"/>
              </a:spcBef>
              <a:buFont typeface="Arial" pitchFamily="34" charset="0"/>
              <a:buChar char="•"/>
              <a:defRPr sz="2116"/>
            </a:lvl8pPr>
            <a:lvl9pPr marL="4111610" indent="-241860" defTabSz="967438">
              <a:spcBef>
                <a:spcPct val="20000"/>
              </a:spcBef>
              <a:buFont typeface="Arial" pitchFamily="34" charset="0"/>
              <a:buChar char="•"/>
              <a:defRPr sz="2116"/>
            </a:lvl9pPr>
          </a:lstStyle>
          <a:p>
            <a:pPr defTabSz="1451157">
              <a:defRPr/>
            </a:pPr>
            <a:r>
              <a:rPr lang="ru-RU" sz="6000" dirty="0" smtClean="0">
                <a:solidFill>
                  <a:schemeClr val="accent3">
                    <a:lumMod val="75000"/>
                  </a:schemeClr>
                </a:solidFill>
                <a:latin typeface="MTS Extended Medium"/>
              </a:rPr>
              <a:t>1</a:t>
            </a:r>
            <a:r>
              <a:rPr lang="ru-RU" sz="4000" dirty="0" smtClean="0">
                <a:solidFill>
                  <a:schemeClr val="accent3">
                    <a:lumMod val="75000"/>
                  </a:schemeClr>
                </a:solidFill>
                <a:latin typeface="MTS Extended Medium"/>
              </a:rPr>
              <a:t> </a:t>
            </a:r>
            <a:r>
              <a:rPr lang="ru-RU" sz="2400" dirty="0" smtClean="0">
                <a:solidFill>
                  <a:schemeClr val="accent3">
                    <a:lumMod val="75000"/>
                  </a:schemeClr>
                </a:solidFill>
                <a:latin typeface="MTS Extended Medium"/>
              </a:rPr>
              <a:t>млрд </a:t>
            </a:r>
            <a:r>
              <a:rPr lang="en-US" sz="2400" dirty="0" smtClean="0">
                <a:solidFill>
                  <a:schemeClr val="accent3">
                    <a:lumMod val="75000"/>
                  </a:schemeClr>
                </a:solidFill>
                <a:latin typeface="MTS Extended Medium"/>
              </a:rPr>
              <a:t>$</a:t>
            </a:r>
            <a:endParaRPr lang="ru-RU" sz="800" dirty="0">
              <a:solidFill>
                <a:schemeClr val="accent3">
                  <a:lumMod val="75000"/>
                </a:schemeClr>
              </a:solidFill>
              <a:latin typeface="MTS Extended Medium"/>
            </a:endParaRPr>
          </a:p>
        </p:txBody>
      </p:sp>
    </p:spTree>
    <p:extLst>
      <p:ext uri="{BB962C8B-B14F-4D97-AF65-F5344CB8AC3E}">
        <p14:creationId xmlns:p14="http://schemas.microsoft.com/office/powerpoint/2010/main" val="213294449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/>
    </mc:Choice>
    <mc:Fallback xmlns:w="http://schemas.openxmlformats.org/wordprocessingml/2006/main" xmlns:m="http://schemas.openxmlformats.org/officeDocument/2006/math" xmlns="">
      <p:transition advClick="1"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230677879" name="Text Placeholder 14"/>
          <p:cNvSpPr>
            <a:spLocks noGrp="1"/>
          </p:cNvSpPr>
          <p:nvPr>
            <p:ph type="body" sz="quarter" idx="27" hasCustomPrompt="1"/>
          </p:nvPr>
        </p:nvSpPr>
        <p:spPr bwMode="auto">
          <a:xfrm>
            <a:off x="439738" y="1535892"/>
            <a:ext cx="5405095" cy="4753145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10000"/>
              </a:lnSpc>
              <a:spcBef>
                <a:spcPts val="0"/>
              </a:spcBef>
              <a:spcAft>
                <a:spcPts val="900"/>
              </a:spcAft>
              <a:buFontTx/>
              <a:buNone/>
              <a:defRPr sz="1800" b="0" i="0" spc="0">
                <a:latin typeface="MTS Text"/>
                <a:ea typeface="MTS Text"/>
              </a:defRPr>
            </a:lvl1pPr>
            <a:lvl2pPr marL="483751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01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53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04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marL="457200" indent="-228600">
              <a:buChar char="•"/>
              <a:defRPr/>
            </a:pPr>
            <a:r>
              <a:rPr dirty="0" err="1"/>
              <a:t>Каждый</a:t>
            </a:r>
            <a:r>
              <a:rPr dirty="0"/>
              <a:t> </a:t>
            </a:r>
            <a:r>
              <a:rPr b="1" dirty="0" err="1"/>
              <a:t>следующий</a:t>
            </a:r>
            <a:r>
              <a:rPr b="1" dirty="0"/>
              <a:t> </a:t>
            </a:r>
            <a:r>
              <a:rPr b="1" dirty="0" err="1"/>
              <a:t>процент</a:t>
            </a:r>
            <a:r>
              <a:rPr b="1" dirty="0"/>
              <a:t> </a:t>
            </a:r>
            <a:r>
              <a:rPr dirty="0" err="1"/>
              <a:t>эффективности</a:t>
            </a:r>
            <a:r>
              <a:rPr dirty="0"/>
              <a:t> </a:t>
            </a:r>
            <a:r>
              <a:rPr dirty="0" err="1"/>
              <a:t>требует</a:t>
            </a:r>
            <a:r>
              <a:rPr dirty="0"/>
              <a:t> </a:t>
            </a:r>
            <a:r>
              <a:rPr b="1" dirty="0" err="1"/>
              <a:t>все</a:t>
            </a:r>
            <a:r>
              <a:rPr b="1" dirty="0"/>
              <a:t> </a:t>
            </a:r>
            <a:r>
              <a:rPr b="1" dirty="0" err="1"/>
              <a:t>больших</a:t>
            </a:r>
            <a:r>
              <a:rPr b="1" dirty="0"/>
              <a:t> </a:t>
            </a:r>
            <a:r>
              <a:rPr b="1" dirty="0" err="1"/>
              <a:t>инвестиций</a:t>
            </a:r>
            <a:r>
              <a:rPr dirty="0"/>
              <a:t>, </a:t>
            </a:r>
            <a:r>
              <a:rPr dirty="0" err="1"/>
              <a:t>чем</a:t>
            </a:r>
            <a:r>
              <a:rPr dirty="0"/>
              <a:t> </a:t>
            </a:r>
            <a:r>
              <a:rPr dirty="0" err="1"/>
              <a:t>предыдущий</a:t>
            </a:r>
            <a:r>
              <a:rPr dirty="0"/>
              <a:t>.</a:t>
            </a:r>
          </a:p>
          <a:p>
            <a:pPr marL="457200" indent="-228600">
              <a:buChar char="•"/>
              <a:defRPr/>
            </a:pPr>
            <a:r>
              <a:rPr dirty="0" err="1"/>
              <a:t>Инструменты</a:t>
            </a:r>
            <a:r>
              <a:rPr dirty="0"/>
              <a:t> </a:t>
            </a:r>
            <a:r>
              <a:rPr dirty="0" err="1"/>
              <a:t>вроде</a:t>
            </a:r>
            <a:r>
              <a:rPr dirty="0"/>
              <a:t> </a:t>
            </a:r>
            <a:r>
              <a:rPr b="1" dirty="0"/>
              <a:t>Lean и Six Sigma </a:t>
            </a:r>
            <a:r>
              <a:rPr dirty="0" err="1"/>
              <a:t>дают</a:t>
            </a:r>
            <a:r>
              <a:rPr dirty="0"/>
              <a:t> </a:t>
            </a:r>
            <a:r>
              <a:rPr dirty="0" err="1"/>
              <a:t>рывки</a:t>
            </a:r>
            <a:r>
              <a:rPr dirty="0"/>
              <a:t>, </a:t>
            </a:r>
            <a:r>
              <a:rPr dirty="0" err="1"/>
              <a:t>но</a:t>
            </a:r>
            <a:r>
              <a:rPr dirty="0"/>
              <a:t> </a:t>
            </a:r>
            <a:r>
              <a:rPr dirty="0" err="1"/>
              <a:t>их</a:t>
            </a:r>
            <a:r>
              <a:rPr dirty="0"/>
              <a:t> </a:t>
            </a:r>
            <a:r>
              <a:rPr b="1" dirty="0" err="1"/>
              <a:t>эффект</a:t>
            </a:r>
            <a:r>
              <a:rPr b="1" dirty="0"/>
              <a:t> </a:t>
            </a:r>
            <a:r>
              <a:rPr b="1" dirty="0" err="1"/>
              <a:t>быстро</a:t>
            </a:r>
            <a:r>
              <a:rPr b="1" dirty="0"/>
              <a:t> </a:t>
            </a:r>
            <a:r>
              <a:rPr b="1" dirty="0" err="1"/>
              <a:t>иссякает</a:t>
            </a:r>
            <a:r>
              <a:rPr dirty="0"/>
              <a:t>.</a:t>
            </a:r>
          </a:p>
          <a:p>
            <a:pPr marL="457200" indent="-228600">
              <a:buChar char="•"/>
              <a:defRPr/>
            </a:pPr>
            <a:r>
              <a:rPr dirty="0" err="1"/>
              <a:t>Вложение</a:t>
            </a:r>
            <a:r>
              <a:rPr dirty="0"/>
              <a:t> </a:t>
            </a:r>
            <a:r>
              <a:rPr dirty="0" err="1"/>
              <a:t>ресурсов</a:t>
            </a:r>
            <a:r>
              <a:rPr dirty="0"/>
              <a:t> в </a:t>
            </a:r>
            <a:r>
              <a:rPr dirty="0" err="1"/>
              <a:t>текущую</a:t>
            </a:r>
            <a:r>
              <a:rPr dirty="0"/>
              <a:t> </a:t>
            </a:r>
            <a:r>
              <a:rPr dirty="0" err="1"/>
              <a:t>парадигму</a:t>
            </a:r>
            <a:r>
              <a:rPr dirty="0"/>
              <a:t> </a:t>
            </a:r>
            <a:r>
              <a:rPr dirty="0" err="1"/>
              <a:t>приносит</a:t>
            </a:r>
            <a:r>
              <a:rPr dirty="0"/>
              <a:t> </a:t>
            </a:r>
            <a:r>
              <a:rPr b="1" dirty="0" err="1"/>
              <a:t>все</a:t>
            </a:r>
            <a:r>
              <a:rPr b="1" dirty="0"/>
              <a:t> </a:t>
            </a:r>
            <a:r>
              <a:rPr b="1" dirty="0" err="1"/>
              <a:t>меньше</a:t>
            </a:r>
            <a:r>
              <a:rPr b="1" dirty="0"/>
              <a:t> </a:t>
            </a:r>
            <a:r>
              <a:rPr b="1" dirty="0" err="1"/>
              <a:t>отдачи</a:t>
            </a:r>
            <a:r>
              <a:rPr b="1" dirty="0"/>
              <a:t> </a:t>
            </a:r>
            <a:r>
              <a:rPr b="1" dirty="0" err="1"/>
              <a:t>на</a:t>
            </a:r>
            <a:r>
              <a:rPr b="1" dirty="0"/>
              <a:t> </a:t>
            </a:r>
            <a:r>
              <a:rPr b="1" dirty="0" err="1"/>
              <a:t>выходе</a:t>
            </a:r>
            <a:r>
              <a:rPr dirty="0"/>
              <a:t>.</a:t>
            </a:r>
          </a:p>
          <a:p>
            <a:pPr marL="457200" indent="-228600">
              <a:buChar char="•"/>
              <a:defRPr/>
            </a:pPr>
            <a:r>
              <a:rPr dirty="0" err="1"/>
              <a:t>Это</a:t>
            </a:r>
            <a:r>
              <a:rPr dirty="0"/>
              <a:t> </a:t>
            </a:r>
            <a:r>
              <a:rPr dirty="0" err="1"/>
              <a:t>не</a:t>
            </a:r>
            <a:r>
              <a:rPr dirty="0"/>
              <a:t> </a:t>
            </a:r>
            <a:r>
              <a:rPr dirty="0" err="1"/>
              <a:t>управленческая</a:t>
            </a:r>
            <a:r>
              <a:rPr dirty="0"/>
              <a:t> </a:t>
            </a:r>
            <a:r>
              <a:rPr dirty="0" err="1"/>
              <a:t>ошибка</a:t>
            </a:r>
            <a:r>
              <a:rPr dirty="0"/>
              <a:t>, а </a:t>
            </a:r>
            <a:r>
              <a:rPr b="1" dirty="0" err="1"/>
              <a:t>физический</a:t>
            </a:r>
            <a:r>
              <a:rPr b="1" dirty="0"/>
              <a:t> </a:t>
            </a:r>
            <a:r>
              <a:rPr b="1" dirty="0" err="1"/>
              <a:t>предел</a:t>
            </a:r>
            <a:r>
              <a:rPr b="1" dirty="0"/>
              <a:t> </a:t>
            </a:r>
            <a:r>
              <a:rPr dirty="0" err="1"/>
              <a:t>текущей</a:t>
            </a:r>
            <a:r>
              <a:rPr dirty="0"/>
              <a:t> </a:t>
            </a:r>
            <a:r>
              <a:rPr dirty="0" err="1"/>
              <a:t>технологической</a:t>
            </a:r>
            <a:r>
              <a:rPr dirty="0"/>
              <a:t> </a:t>
            </a:r>
            <a:r>
              <a:rPr dirty="0" err="1"/>
              <a:t>модели</a:t>
            </a:r>
            <a:r>
              <a:rPr dirty="0"/>
              <a:t>.</a:t>
            </a:r>
          </a:p>
          <a:p>
            <a:pPr marL="457200" indent="-228600">
              <a:buChar char="•"/>
              <a:defRPr/>
            </a:pPr>
            <a:r>
              <a:rPr b="1" dirty="0" err="1"/>
              <a:t>Без</a:t>
            </a:r>
            <a:r>
              <a:rPr b="1" dirty="0"/>
              <a:t> </a:t>
            </a:r>
            <a:r>
              <a:rPr b="1" dirty="0" err="1"/>
              <a:t>смены</a:t>
            </a:r>
            <a:r>
              <a:rPr b="1" dirty="0"/>
              <a:t> </a:t>
            </a:r>
            <a:r>
              <a:rPr b="1" dirty="0" err="1"/>
              <a:t>парадигмы</a:t>
            </a:r>
            <a:r>
              <a:rPr b="1" dirty="0"/>
              <a:t> </a:t>
            </a:r>
            <a:r>
              <a:rPr dirty="0" err="1"/>
              <a:t>дальнейший</a:t>
            </a:r>
            <a:r>
              <a:rPr dirty="0"/>
              <a:t> </a:t>
            </a:r>
            <a:r>
              <a:rPr dirty="0" err="1"/>
              <a:t>рост</a:t>
            </a:r>
            <a:r>
              <a:rPr dirty="0"/>
              <a:t> </a:t>
            </a:r>
            <a:r>
              <a:rPr dirty="0" err="1"/>
              <a:t>эффективности</a:t>
            </a:r>
            <a:r>
              <a:rPr dirty="0"/>
              <a:t> </a:t>
            </a:r>
            <a:r>
              <a:rPr dirty="0" err="1"/>
              <a:t>становится</a:t>
            </a:r>
            <a:r>
              <a:rPr dirty="0"/>
              <a:t> </a:t>
            </a:r>
            <a:r>
              <a:rPr dirty="0" err="1"/>
              <a:t>экономически</a:t>
            </a:r>
            <a:r>
              <a:rPr dirty="0"/>
              <a:t> </a:t>
            </a:r>
            <a:r>
              <a:rPr b="1" dirty="0" err="1"/>
              <a:t>нецелесообразным</a:t>
            </a:r>
            <a:r>
              <a:rPr b="1" dirty="0"/>
              <a:t> </a:t>
            </a:r>
            <a:r>
              <a:rPr b="1" dirty="0" err="1"/>
              <a:t>для</a:t>
            </a:r>
            <a:r>
              <a:rPr b="1" dirty="0"/>
              <a:t> </a:t>
            </a:r>
            <a:r>
              <a:rPr b="1" dirty="0" err="1" smtClean="0"/>
              <a:t>бизнеса</a:t>
            </a:r>
            <a:endParaRPr b="1" dirty="0"/>
          </a:p>
        </p:txBody>
      </p:sp>
      <p:sp>
        <p:nvSpPr>
          <p:cNvPr id="34099628" name="Slide Number Placeholder 2"/>
          <p:cNvSpPr>
            <a:spLocks noGrp="1"/>
          </p:cNvSpPr>
          <p:nvPr>
            <p:ph type="sldNum" sz="quarter" idx="4"/>
          </p:nvPr>
        </p:nvSpPr>
        <p:spPr bwMode="auto">
          <a:xfrm>
            <a:off x="11478355" y="6504739"/>
            <a:ext cx="515937" cy="181885"/>
          </a:xfrm>
          <a:prstGeom prst="rect">
            <a:avLst/>
          </a:prstGeom>
        </p:spPr>
        <p:txBody>
          <a:bodyPr/>
          <a:lstStyle>
            <a:lvl1pPr algn="r">
              <a:defRPr sz="900" b="0" i="0">
                <a:solidFill>
                  <a:schemeClr val="bg1">
                    <a:lumMod val="75000"/>
                  </a:schemeClr>
                </a:solidFill>
                <a:latin typeface="MTS Wide"/>
                <a:ea typeface="MTS Wide"/>
                <a:cs typeface="+mn-cs"/>
              </a:defRPr>
            </a:lvl1pPr>
          </a:lstStyle>
          <a:p>
            <a:pPr defTabSz="430123">
              <a:defRPr/>
            </a:pPr>
            <a:fld id="{40F0FB0D-3004-F1A8-B4BF-C20B824FB888}" type="slidenum">
              <a:rPr lang="ru-RU"/>
              <a:t>5</a:t>
            </a:fld>
            <a:endParaRPr lang="ru-RU"/>
          </a:p>
        </p:txBody>
      </p:sp>
      <p:sp>
        <p:nvSpPr>
          <p:cNvPr id="109518528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515938" y="237170"/>
            <a:ext cx="10685463" cy="477172"/>
          </a:xfrm>
        </p:spPr>
        <p:txBody>
          <a:bodyPr/>
          <a:lstStyle>
            <a:lvl1pPr>
              <a:defRPr sz="3200"/>
            </a:lvl1pPr>
          </a:lstStyle>
          <a:p>
            <a:pPr>
              <a:defRPr/>
            </a:pPr>
            <a:r>
              <a:rPr sz="2800" dirty="0" smtClean="0"/>
              <a:t>рост эффективности замедляется тем быстрее, чем ты ближе к пределу </a:t>
            </a:r>
            <a:r>
              <a:rPr lang="ru-RU" sz="2800" dirty="0" smtClean="0"/>
              <a:t>–</a:t>
            </a:r>
            <a:r>
              <a:rPr sz="2800" dirty="0" smtClean="0"/>
              <a:t> 80% уже </a:t>
            </a:r>
            <a:r>
              <a:rPr sz="2800" dirty="0" err="1" smtClean="0"/>
              <a:t>ок</a:t>
            </a:r>
            <a:endParaRPr sz="2800" dirty="0"/>
          </a:p>
        </p:txBody>
      </p:sp>
      <p:pic>
        <p:nvPicPr>
          <p:cNvPr id="17410" name="Picture 2" descr="Picture background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502" t="4739" b="8141"/>
          <a:stretch/>
        </p:blipFill>
        <p:spPr bwMode="auto">
          <a:xfrm>
            <a:off x="6038728" y="1552193"/>
            <a:ext cx="5953881" cy="40736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/>
    </mc:Choice>
    <mc:Fallback xmlns:w="http://schemas.openxmlformats.org/wordprocessingml/2006/main" xmlns:m="http://schemas.openxmlformats.org/officeDocument/2006/math" xmlns="">
      <p:transition advClick="1"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2945345" name="Text Placeholder 14"/>
          <p:cNvSpPr>
            <a:spLocks noGrp="1"/>
          </p:cNvSpPr>
          <p:nvPr>
            <p:ph type="body" sz="quarter" idx="27" hasCustomPrompt="1"/>
          </p:nvPr>
        </p:nvSpPr>
        <p:spPr bwMode="auto">
          <a:xfrm>
            <a:off x="515938" y="1540975"/>
            <a:ext cx="11676062" cy="4753145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10000"/>
              </a:lnSpc>
              <a:spcBef>
                <a:spcPts val="0"/>
              </a:spcBef>
              <a:spcAft>
                <a:spcPts val="900"/>
              </a:spcAft>
              <a:buFontTx/>
              <a:buNone/>
              <a:defRPr sz="1800" b="0" i="0" spc="0">
                <a:latin typeface="MTS Text"/>
                <a:ea typeface="MTS Text"/>
              </a:defRPr>
            </a:lvl1pPr>
            <a:lvl2pPr marL="483751" indent="0">
              <a:buFontTx/>
              <a:buNone/>
              <a:defRPr sz="1300" b="0" i="0">
                <a:latin typeface="MTS Text"/>
                <a:ea typeface="MTS Text"/>
              </a:defRPr>
            </a:lvl2pPr>
            <a:lvl3pPr marL="967501" indent="0">
              <a:buFontTx/>
              <a:buNone/>
              <a:defRPr sz="1300" b="0" i="0">
                <a:latin typeface="MTS Text"/>
                <a:ea typeface="MTS Text"/>
              </a:defRPr>
            </a:lvl3pPr>
            <a:lvl4pPr marL="1451253" indent="0">
              <a:buFontTx/>
              <a:buNone/>
              <a:defRPr sz="1300" b="0" i="0">
                <a:latin typeface="MTS Text"/>
                <a:ea typeface="MTS Text"/>
              </a:defRPr>
            </a:lvl4pPr>
            <a:lvl5pPr marL="1935004" indent="0">
              <a:buFontTx/>
              <a:buNone/>
              <a:defRPr sz="1300" b="0" i="0">
                <a:latin typeface="MTS Text"/>
                <a:ea typeface="MTS Text"/>
              </a:defRPr>
            </a:lvl5pPr>
          </a:lstStyle>
          <a:p>
            <a:pPr marL="228600">
              <a:defRPr/>
            </a:pPr>
            <a:r>
              <a:rPr lang="ru-RU" sz="2400" b="1" dirty="0" smtClean="0"/>
              <a:t>Скорость обратной связи: задержка между событием и реакцией:</a:t>
            </a:r>
          </a:p>
          <a:p>
            <a:pPr marL="514350" indent="-285750">
              <a:buFont typeface="Arial" panose="020B0604020202020204" pitchFamily="34" charset="0"/>
              <a:buChar char="•"/>
              <a:defRPr/>
            </a:pPr>
            <a:r>
              <a:rPr lang="ru-RU" dirty="0"/>
              <a:t>Разрозненные системы не обмениваются информацией в реальном времени, создавая искусственные </a:t>
            </a:r>
            <a:r>
              <a:rPr lang="ru-RU" dirty="0" smtClean="0"/>
              <a:t>задержки. </a:t>
            </a:r>
          </a:p>
          <a:p>
            <a:pPr marL="514350" indent="-285750">
              <a:buFont typeface="Arial" panose="020B0604020202020204" pitchFamily="34" charset="0"/>
              <a:buChar char="•"/>
              <a:defRPr/>
            </a:pPr>
            <a:r>
              <a:rPr lang="ru-RU" dirty="0" smtClean="0"/>
              <a:t>В </a:t>
            </a:r>
            <a:r>
              <a:rPr lang="ru-RU" dirty="0"/>
              <a:t>AI-управляемой системе </a:t>
            </a:r>
            <a:r>
              <a:rPr lang="ru-RU" dirty="0" smtClean="0"/>
              <a:t>обмен и рекомендации о принятии решения происходит </a:t>
            </a:r>
            <a:r>
              <a:rPr lang="ru-RU" dirty="0"/>
              <a:t>за секунды</a:t>
            </a:r>
            <a:r>
              <a:rPr lang="ru-RU" dirty="0" smtClean="0"/>
              <a:t>.</a:t>
            </a:r>
            <a:endParaRPr lang="ru-RU" sz="2400" dirty="0" smtClean="0"/>
          </a:p>
          <a:p>
            <a:pPr marL="228600">
              <a:defRPr/>
            </a:pPr>
            <a:r>
              <a:rPr lang="ru-RU" sz="2400" b="1" dirty="0" smtClean="0"/>
              <a:t>Масштаб обработки информации:</a:t>
            </a:r>
            <a:endParaRPr lang="ru-RU" sz="2400" b="1" dirty="0"/>
          </a:p>
          <a:p>
            <a:pPr marL="457200" indent="-228600">
              <a:buFontTx/>
              <a:buChar char="•"/>
              <a:defRPr/>
            </a:pPr>
            <a:r>
              <a:rPr lang="ru-RU" dirty="0"/>
              <a:t>Человек способен отслеживать 7±2 параметра одновременно (закон Миллера, 1956). </a:t>
            </a:r>
            <a:endParaRPr lang="ru-RU" dirty="0" smtClean="0"/>
          </a:p>
          <a:p>
            <a:pPr marL="457200" indent="-228600">
              <a:buFontTx/>
              <a:buChar char="•"/>
              <a:defRPr/>
            </a:pPr>
            <a:r>
              <a:rPr lang="ru-RU" dirty="0" smtClean="0"/>
              <a:t>При </a:t>
            </a:r>
            <a:r>
              <a:rPr lang="ru-RU" dirty="0"/>
              <a:t>росте сложности системы человеческий контур становится узким местом.</a:t>
            </a:r>
          </a:p>
          <a:p>
            <a:pPr marL="228600">
              <a:defRPr/>
            </a:pPr>
            <a:r>
              <a:rPr lang="ru-RU" sz="2400" b="1" dirty="0" smtClean="0"/>
              <a:t>Стоимость масштабирования:</a:t>
            </a:r>
          </a:p>
          <a:p>
            <a:pPr marL="514350" indent="-285750">
              <a:buFont typeface="Arial" panose="020B0604020202020204" pitchFamily="34" charset="0"/>
              <a:buChar char="•"/>
              <a:defRPr/>
            </a:pPr>
            <a:r>
              <a:rPr lang="ru-RU" dirty="0" smtClean="0"/>
              <a:t>Текущие системы </a:t>
            </a:r>
            <a:r>
              <a:rPr lang="ru-RU" dirty="0"/>
              <a:t>масштабируются линейно: вдвое больше объём = вдвое больше </a:t>
            </a:r>
            <a:r>
              <a:rPr lang="ru-RU" dirty="0" smtClean="0"/>
              <a:t>людей. </a:t>
            </a:r>
          </a:p>
          <a:p>
            <a:pPr marL="514350" indent="-285750">
              <a:buFont typeface="Arial" panose="020B0604020202020204" pitchFamily="34" charset="0"/>
              <a:buChar char="•"/>
              <a:defRPr/>
            </a:pPr>
            <a:r>
              <a:rPr lang="ru-RU" dirty="0" smtClean="0"/>
              <a:t>AI </a:t>
            </a:r>
            <a:r>
              <a:rPr lang="ru-RU" dirty="0"/>
              <a:t>+ 5G + роботы масштабируются нелинейно: вдвое больше объём ≠ вдвое больше затрат</a:t>
            </a:r>
            <a:r>
              <a:rPr lang="ru-RU" dirty="0" smtClean="0"/>
              <a:t>.</a:t>
            </a:r>
            <a:endParaRPr lang="ru-RU" dirty="0"/>
          </a:p>
        </p:txBody>
      </p:sp>
      <p:sp>
        <p:nvSpPr>
          <p:cNvPr id="2002139115" name="Slide Number Placeholder 2"/>
          <p:cNvSpPr>
            <a:spLocks noGrp="1"/>
          </p:cNvSpPr>
          <p:nvPr>
            <p:ph type="sldNum" sz="quarter" idx="4"/>
          </p:nvPr>
        </p:nvSpPr>
        <p:spPr bwMode="auto">
          <a:xfrm>
            <a:off x="11478355" y="6504739"/>
            <a:ext cx="515937" cy="181885"/>
          </a:xfrm>
          <a:prstGeom prst="rect">
            <a:avLst/>
          </a:prstGeom>
        </p:spPr>
        <p:txBody>
          <a:bodyPr/>
          <a:lstStyle>
            <a:lvl1pPr algn="r">
              <a:defRPr sz="900" b="0" i="0">
                <a:solidFill>
                  <a:schemeClr val="bg1">
                    <a:lumMod val="75000"/>
                  </a:schemeClr>
                </a:solidFill>
                <a:latin typeface="MTS Wide"/>
                <a:ea typeface="MTS Wide"/>
                <a:cs typeface="+mn-cs"/>
              </a:defRPr>
            </a:lvl1pPr>
          </a:lstStyle>
          <a:p>
            <a:pPr defTabSz="430123">
              <a:defRPr/>
            </a:pPr>
            <a:fld id="{306E3B01-B7E4-41AA-D36F-EDA2EBB17D4B}" type="slidenum">
              <a:rPr lang="ru-RU"/>
              <a:t>6</a:t>
            </a:fld>
            <a:endParaRPr lang="ru-RU"/>
          </a:p>
        </p:txBody>
      </p:sp>
      <p:sp>
        <p:nvSpPr>
          <p:cNvPr id="160392906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515938" y="237170"/>
            <a:ext cx="10685463" cy="477172"/>
          </a:xfrm>
        </p:spPr>
        <p:txBody>
          <a:bodyPr/>
          <a:lstStyle>
            <a:lvl1pPr>
              <a:defRPr sz="3200"/>
            </a:lvl1pPr>
          </a:lstStyle>
          <a:p>
            <a:pPr>
              <a:defRPr/>
            </a:pPr>
            <a:r>
              <a:rPr sz="2800" dirty="0"/>
              <a:t>Почему 100% недостижимы </a:t>
            </a:r>
            <a:r>
              <a:rPr sz="2800" dirty="0" smtClean="0"/>
              <a:t>сегодня:</a:t>
            </a:r>
            <a:br>
              <a:rPr sz="2800" dirty="0" smtClean="0"/>
            </a:br>
            <a:r>
              <a:rPr lang="ru-RU" sz="2800" dirty="0" smtClean="0"/>
              <a:t>Фундаментальные ограничения</a:t>
            </a:r>
            <a:endParaRPr sz="2800"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/>
    </mc:Choice>
    <mc:Fallback xmlns:w="http://schemas.openxmlformats.org/wordprocessingml/2006/main" xmlns:m="http://schemas.openxmlformats.org/officeDocument/2006/math" xmlns="">
      <p:transition advClick="1"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842590710" name="Slide Number Placeholder 2"/>
          <p:cNvSpPr>
            <a:spLocks noGrp="1"/>
          </p:cNvSpPr>
          <p:nvPr>
            <p:ph type="sldNum" sz="quarter" idx="4"/>
          </p:nvPr>
        </p:nvSpPr>
        <p:spPr bwMode="auto">
          <a:xfrm>
            <a:off x="11478355" y="6504739"/>
            <a:ext cx="515937" cy="181885"/>
          </a:xfrm>
          <a:prstGeom prst="rect">
            <a:avLst/>
          </a:prstGeom>
        </p:spPr>
        <p:txBody>
          <a:bodyPr/>
          <a:lstStyle>
            <a:lvl1pPr algn="r">
              <a:defRPr sz="900" b="0" i="0">
                <a:solidFill>
                  <a:schemeClr val="bg1">
                    <a:lumMod val="75000"/>
                  </a:schemeClr>
                </a:solidFill>
                <a:latin typeface="MTS Wide"/>
                <a:ea typeface="MTS Wide"/>
                <a:cs typeface="+mn-cs"/>
              </a:defRPr>
            </a:lvl1pPr>
          </a:lstStyle>
          <a:p>
            <a:pPr defTabSz="430123">
              <a:defRPr/>
            </a:pPr>
            <a:fld id="{7064EE2A-E684-F2D4-B1B9-E834FA930F42}" type="slidenum">
              <a:rPr lang="ru-RU"/>
              <a:t>7</a:t>
            </a:fld>
            <a:endParaRPr lang="ru-RU"/>
          </a:p>
        </p:txBody>
      </p:sp>
      <p:sp>
        <p:nvSpPr>
          <p:cNvPr id="723309887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515938" y="237170"/>
            <a:ext cx="10685463" cy="477172"/>
          </a:xfrm>
        </p:spPr>
        <p:txBody>
          <a:bodyPr/>
          <a:lstStyle>
            <a:lvl1pPr>
              <a:defRPr sz="3200"/>
            </a:lvl1pPr>
          </a:lstStyle>
          <a:p>
            <a:pPr>
              <a:defRPr/>
            </a:pPr>
            <a:r>
              <a:rPr dirty="0"/>
              <a:t>Замкнутый цикл: передал — решил — </a:t>
            </a:r>
            <a:r>
              <a:rPr dirty="0" smtClean="0"/>
              <a:t>исполнил, А Наша задача </a:t>
            </a:r>
            <a:r>
              <a:rPr lang="ru-RU" dirty="0" smtClean="0"/>
              <a:t>–</a:t>
            </a:r>
            <a:r>
              <a:rPr dirty="0" smtClean="0"/>
              <a:t> стратегия </a:t>
            </a:r>
            <a:endParaRPr dirty="0"/>
          </a:p>
        </p:txBody>
      </p:sp>
      <p:cxnSp>
        <p:nvCxnSpPr>
          <p:cNvPr id="6" name="Прямая соединительная линия 5">
            <a:extLst>
              <a:ext uri="{FF2B5EF4-FFF2-40B4-BE49-F238E27FC236}">
                <a16:creationId xmlns:a16="http://schemas.microsoft.com/office/drawing/2014/main" id="{92621CAD-7CFA-960D-F416-77106FFAA6FC}"/>
              </a:ext>
            </a:extLst>
          </p:cNvPr>
          <p:cNvCxnSpPr/>
          <p:nvPr/>
        </p:nvCxnSpPr>
        <p:spPr>
          <a:xfrm>
            <a:off x="385294" y="3064318"/>
            <a:ext cx="11384468" cy="0"/>
          </a:xfrm>
          <a:prstGeom prst="line">
            <a:avLst/>
          </a:prstGeom>
          <a:ln w="28575">
            <a:solidFill>
              <a:srgbClr val="8E5BDD">
                <a:alpha val="60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Овал 6"/>
          <p:cNvSpPr>
            <a:spLocks noChangeAspect="1"/>
          </p:cNvSpPr>
          <p:nvPr/>
        </p:nvSpPr>
        <p:spPr>
          <a:xfrm>
            <a:off x="596538" y="2609120"/>
            <a:ext cx="900000" cy="900000"/>
          </a:xfrm>
          <a:prstGeom prst="ellipse">
            <a:avLst/>
          </a:prstGeom>
          <a:solidFill>
            <a:srgbClr val="8E5BDD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TS Text"/>
              <a:ea typeface="+mn-ea"/>
              <a:cs typeface="+mn-cs"/>
            </a:endParaRPr>
          </a:p>
        </p:txBody>
      </p:sp>
      <p:sp>
        <p:nvSpPr>
          <p:cNvPr id="8" name="Овал 7"/>
          <p:cNvSpPr>
            <a:spLocks noChangeAspect="1"/>
          </p:cNvSpPr>
          <p:nvPr/>
        </p:nvSpPr>
        <p:spPr>
          <a:xfrm>
            <a:off x="8024272" y="2609120"/>
            <a:ext cx="900000" cy="900000"/>
          </a:xfrm>
          <a:prstGeom prst="ellipse">
            <a:avLst/>
          </a:prstGeom>
          <a:solidFill>
            <a:srgbClr val="8E5BDD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TS Text"/>
              <a:ea typeface="+mn-ea"/>
              <a:cs typeface="+mn-cs"/>
            </a:endParaRPr>
          </a:p>
        </p:txBody>
      </p:sp>
      <p:sp>
        <p:nvSpPr>
          <p:cNvPr id="9" name="Овал 8"/>
          <p:cNvSpPr>
            <a:spLocks noChangeAspect="1"/>
          </p:cNvSpPr>
          <p:nvPr/>
        </p:nvSpPr>
        <p:spPr>
          <a:xfrm>
            <a:off x="4429287" y="2609120"/>
            <a:ext cx="900000" cy="900000"/>
          </a:xfrm>
          <a:prstGeom prst="ellipse">
            <a:avLst/>
          </a:prstGeom>
          <a:solidFill>
            <a:srgbClr val="8E5BDD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TS Text"/>
              <a:ea typeface="+mn-ea"/>
              <a:cs typeface="+mn-cs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829866" y="2744741"/>
            <a:ext cx="428625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Tx/>
              <a:buNone/>
              <a:tabLst/>
              <a:defRPr/>
            </a:pPr>
            <a:r>
              <a:rPr lang="ru-RU" sz="3600" dirty="0">
                <a:solidFill>
                  <a:schemeClr val="bg1"/>
                </a:solidFill>
                <a:latin typeface="MTS Extended Medium" panose="020B0306020102020303" pitchFamily="34" charset="0"/>
                <a:ea typeface="MTS Extended Medium" panose="020B0306020102020303" pitchFamily="34" charset="0"/>
              </a:rPr>
              <a:t>1</a:t>
            </a:r>
            <a:endParaRPr kumimoji="0" lang="ru-RU" sz="36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MTS Extended Medium" panose="020B0306020102020303" pitchFamily="34" charset="0"/>
              <a:ea typeface="MTS Extended Medium" panose="020B0306020102020303" pitchFamily="34" charset="0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4681086" y="2752255"/>
            <a:ext cx="428625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Tx/>
              <a:buNone/>
              <a:tabLst/>
              <a:defRPr/>
            </a:pPr>
            <a:r>
              <a:rPr lang="ru-RU" sz="3600" dirty="0">
                <a:solidFill>
                  <a:schemeClr val="bg1"/>
                </a:solidFill>
                <a:latin typeface="MTS Extended Medium" panose="020B0306020102020303" pitchFamily="34" charset="0"/>
                <a:ea typeface="MTS Extended Medium" panose="020B0306020102020303" pitchFamily="34" charset="0"/>
              </a:rPr>
              <a:t>2</a:t>
            </a:r>
            <a:endParaRPr kumimoji="0" lang="ru-RU" sz="36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MTS Extended Medium" panose="020B0306020102020303" pitchFamily="34" charset="0"/>
              <a:ea typeface="MTS Extended Medium" panose="020B0306020102020303" pitchFamily="34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8276071" y="2761490"/>
            <a:ext cx="428625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Tx/>
              <a:buNone/>
              <a:tabLst/>
              <a:defRPr/>
            </a:pPr>
            <a:r>
              <a:rPr lang="ru-RU" sz="3600" dirty="0">
                <a:solidFill>
                  <a:schemeClr val="bg1"/>
                </a:solidFill>
                <a:latin typeface="MTS Extended Medium" panose="020B0306020102020303" pitchFamily="34" charset="0"/>
                <a:ea typeface="MTS Extended Medium" panose="020B0306020102020303" pitchFamily="34" charset="0"/>
              </a:rPr>
              <a:t>3</a:t>
            </a:r>
            <a:endParaRPr kumimoji="0" lang="ru-RU" sz="36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MTS Extended Medium" panose="020B0306020102020303" pitchFamily="34" charset="0"/>
              <a:ea typeface="MTS Extended Medium" panose="020B0306020102020303" pitchFamily="34" charset="0"/>
            </a:endParaRPr>
          </a:p>
        </p:txBody>
      </p:sp>
      <p:sp>
        <p:nvSpPr>
          <p:cNvPr id="13" name="name_83"/>
          <p:cNvSpPr/>
          <p:nvPr/>
        </p:nvSpPr>
        <p:spPr>
          <a:xfrm>
            <a:off x="708355" y="1871194"/>
            <a:ext cx="3419475" cy="419100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r>
              <a:rPr lang="ru-RU" sz="2000" dirty="0" smtClean="0">
                <a:solidFill>
                  <a:srgbClr val="000000"/>
                </a:solidFill>
                <a:latin typeface="MTS Extended Medium" panose="020B0306020102020303" pitchFamily="34" charset="0"/>
                <a:ea typeface="MTS Extended Medium" panose="020B0306020102020303" pitchFamily="34" charset="0"/>
                <a:cs typeface="MTS Wide Medium" pitchFamily="34" charset="-120"/>
              </a:rPr>
              <a:t>Сигнал</a:t>
            </a:r>
            <a:endParaRPr lang="en-US" sz="2000" dirty="0">
              <a:latin typeface="MTS Extended Medium" panose="020B0306020102020303" pitchFamily="34" charset="0"/>
              <a:ea typeface="MTS Extended Medium" panose="020B0306020102020303" pitchFamily="34" charset="0"/>
            </a:endParaRPr>
          </a:p>
        </p:txBody>
      </p:sp>
      <p:sp>
        <p:nvSpPr>
          <p:cNvPr id="14" name="name_83"/>
          <p:cNvSpPr/>
          <p:nvPr/>
        </p:nvSpPr>
        <p:spPr>
          <a:xfrm>
            <a:off x="4541292" y="1871194"/>
            <a:ext cx="3419475" cy="419100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r>
              <a:rPr lang="ru-RU" sz="2000" dirty="0" smtClean="0">
                <a:solidFill>
                  <a:srgbClr val="000000"/>
                </a:solidFill>
                <a:latin typeface="MTS Extended Medium" panose="020B0306020102020303" pitchFamily="34" charset="0"/>
                <a:ea typeface="MTS Extended Medium" panose="020B0306020102020303" pitchFamily="34" charset="0"/>
                <a:cs typeface="MTS Wide Medium" pitchFamily="34" charset="-120"/>
              </a:rPr>
              <a:t>Анализ</a:t>
            </a:r>
            <a:endParaRPr lang="en-US" sz="2000" dirty="0">
              <a:latin typeface="MTS Extended Medium" panose="020B0306020102020303" pitchFamily="34" charset="0"/>
              <a:ea typeface="MTS Extended Medium" panose="020B0306020102020303" pitchFamily="34" charset="0"/>
            </a:endParaRPr>
          </a:p>
        </p:txBody>
      </p:sp>
      <p:sp>
        <p:nvSpPr>
          <p:cNvPr id="15" name="name_83"/>
          <p:cNvSpPr/>
          <p:nvPr/>
        </p:nvSpPr>
        <p:spPr>
          <a:xfrm>
            <a:off x="8729288" y="1871194"/>
            <a:ext cx="3520852" cy="419100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r>
              <a:rPr lang="ru-RU" sz="2000" dirty="0" smtClean="0">
                <a:solidFill>
                  <a:srgbClr val="000000"/>
                </a:solidFill>
                <a:latin typeface="MTS Extended Medium" panose="020B0306020102020303" pitchFamily="34" charset="0"/>
                <a:ea typeface="MTS Extended Medium" panose="020B0306020102020303" pitchFamily="34" charset="0"/>
                <a:cs typeface="MTS Wide Medium" pitchFamily="34" charset="-120"/>
              </a:rPr>
              <a:t>Исполнение</a:t>
            </a:r>
            <a:endParaRPr lang="en-US" sz="2000" dirty="0">
              <a:latin typeface="MTS Extended Medium" panose="020B0306020102020303" pitchFamily="34" charset="0"/>
              <a:ea typeface="MTS Extended Medium" panose="020B0306020102020303" pitchFamily="34" charset="0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385294" y="4168278"/>
            <a:ext cx="3272306" cy="155427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indent="-228600">
              <a:buChar char="•"/>
              <a:defRPr/>
            </a:pPr>
            <a:r>
              <a:rPr lang="ru-RU" dirty="0" smtClean="0"/>
              <a:t>Объекты </a:t>
            </a:r>
            <a:r>
              <a:rPr lang="ru-RU" dirty="0"/>
              <a:t>через 5G мгновенно </a:t>
            </a:r>
            <a:r>
              <a:rPr lang="ru-RU" dirty="0" smtClean="0"/>
              <a:t>передают </a:t>
            </a:r>
            <a:r>
              <a:rPr lang="ru-RU" dirty="0"/>
              <a:t>данные, исключая задержки на передачу информации.</a:t>
            </a:r>
            <a:endParaRPr lang="ru-RU" dirty="0"/>
          </a:p>
        </p:txBody>
      </p:sp>
      <p:sp>
        <p:nvSpPr>
          <p:cNvPr id="17" name="Прямоугольник 16"/>
          <p:cNvSpPr/>
          <p:nvPr/>
        </p:nvSpPr>
        <p:spPr bwMode="auto">
          <a:xfrm>
            <a:off x="3693134" y="4168278"/>
            <a:ext cx="3759226" cy="126188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indent="-228600">
              <a:buChar char="•"/>
              <a:defRPr/>
            </a:pPr>
            <a:r>
              <a:rPr lang="ru-RU" dirty="0"/>
              <a:t>ИИ анализирует сигналы и принимает решение, заменяя субъективное человеческое суждение.</a:t>
            </a:r>
            <a:endParaRPr lang="ru-RU" dirty="0"/>
          </a:p>
        </p:txBody>
      </p:sp>
      <p:sp>
        <p:nvSpPr>
          <p:cNvPr id="18" name="Прямоугольник 17"/>
          <p:cNvSpPr/>
          <p:nvPr/>
        </p:nvSpPr>
        <p:spPr bwMode="auto">
          <a:xfrm>
            <a:off x="7719129" y="4168278"/>
            <a:ext cx="3759226" cy="126188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indent="-228600">
              <a:buChar char="•"/>
              <a:defRPr/>
            </a:pPr>
            <a:r>
              <a:rPr lang="ru-RU" dirty="0"/>
              <a:t>Робот или автоматическая система исполняет команду без пауз и потери контекста.</a:t>
            </a:r>
          </a:p>
        </p:txBody>
      </p:sp>
      <p:cxnSp>
        <p:nvCxnSpPr>
          <p:cNvPr id="5" name="Скругленная соединительная линия 4"/>
          <p:cNvCxnSpPr>
            <a:endCxn id="7" idx="2"/>
          </p:cNvCxnSpPr>
          <p:nvPr/>
        </p:nvCxnSpPr>
        <p:spPr bwMode="auto">
          <a:xfrm rot="10800000">
            <a:off x="596538" y="3059120"/>
            <a:ext cx="11173224" cy="5198"/>
          </a:xfrm>
          <a:prstGeom prst="curvedConnector5">
            <a:avLst>
              <a:gd name="adj1" fmla="val -3267"/>
              <a:gd name="adj2" fmla="val -18818815"/>
              <a:gd name="adj3" fmla="val 102046"/>
            </a:avLst>
          </a:prstGeom>
          <a:ln w="28575">
            <a:solidFill>
              <a:schemeClr val="accent4">
                <a:lumMod val="75000"/>
                <a:alpha val="2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 Placeholder 14"/>
          <p:cNvSpPr txBox="1">
            <a:spLocks/>
          </p:cNvSpPr>
          <p:nvPr/>
        </p:nvSpPr>
        <p:spPr bwMode="auto">
          <a:xfrm>
            <a:off x="385294" y="6138710"/>
            <a:ext cx="12279146" cy="475314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967502">
              <a:lnSpc>
                <a:spcPct val="110000"/>
              </a:lnSpc>
              <a:spcBef>
                <a:spcPts val="0"/>
              </a:spcBef>
              <a:spcAft>
                <a:spcPts val="900"/>
              </a:spcAft>
              <a:buFontTx/>
              <a:buNone/>
              <a:defRPr sz="1800" b="0" i="0" spc="0">
                <a:solidFill>
                  <a:schemeClr val="tx1"/>
                </a:solidFill>
                <a:latin typeface="MTS Text"/>
                <a:ea typeface="MTS Text"/>
                <a:cs typeface="+mn-cs"/>
              </a:defRPr>
            </a:lvl1pPr>
            <a:lvl2pPr marL="483751" indent="0" algn="l" defTabSz="967502">
              <a:spcBef>
                <a:spcPts val="0"/>
              </a:spcBef>
              <a:buFontTx/>
              <a:buNone/>
              <a:defRPr sz="1300" b="0" i="0">
                <a:solidFill>
                  <a:schemeClr val="tx1"/>
                </a:solidFill>
                <a:latin typeface="MTS Text"/>
                <a:ea typeface="MTS Text"/>
                <a:cs typeface="+mn-cs"/>
              </a:defRPr>
            </a:lvl2pPr>
            <a:lvl3pPr marL="967501" indent="0" algn="l" defTabSz="967502">
              <a:spcBef>
                <a:spcPts val="0"/>
              </a:spcBef>
              <a:buFontTx/>
              <a:buNone/>
              <a:defRPr sz="1300" b="0" i="0">
                <a:solidFill>
                  <a:schemeClr val="tx1"/>
                </a:solidFill>
                <a:latin typeface="MTS Text"/>
                <a:ea typeface="MTS Text"/>
                <a:cs typeface="+mn-cs"/>
              </a:defRPr>
            </a:lvl3pPr>
            <a:lvl4pPr marL="1451253" indent="0" algn="l" defTabSz="967502">
              <a:spcBef>
                <a:spcPts val="0"/>
              </a:spcBef>
              <a:buFontTx/>
              <a:buNone/>
              <a:defRPr sz="1300" b="0" i="0">
                <a:solidFill>
                  <a:schemeClr val="tx1"/>
                </a:solidFill>
                <a:latin typeface="MTS Text"/>
                <a:ea typeface="MTS Text"/>
                <a:cs typeface="+mn-cs"/>
              </a:defRPr>
            </a:lvl4pPr>
            <a:lvl5pPr marL="1935004" indent="0" algn="l" defTabSz="967502">
              <a:spcBef>
                <a:spcPts val="0"/>
              </a:spcBef>
              <a:buFontTx/>
              <a:buNone/>
              <a:defRPr sz="1300" b="0" i="0">
                <a:solidFill>
                  <a:schemeClr val="tx1"/>
                </a:solidFill>
                <a:latin typeface="MTS Text"/>
                <a:ea typeface="MTS Text"/>
                <a:cs typeface="+mn-cs"/>
              </a:defRPr>
            </a:lvl5pPr>
            <a:lvl6pPr marL="2660631" indent="-241877" algn="l" defTabSz="967502">
              <a:spcBef>
                <a:spcPts val="0"/>
              </a:spcBef>
              <a:buFont typeface="Arial"/>
              <a:buChar char="•"/>
              <a:defRPr sz="2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44383" indent="-241877" algn="l" defTabSz="967502">
              <a:spcBef>
                <a:spcPts val="0"/>
              </a:spcBef>
              <a:buFont typeface="Arial"/>
              <a:buChar char="•"/>
              <a:defRPr sz="2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28133" indent="-241877" algn="l" defTabSz="967502">
              <a:spcBef>
                <a:spcPts val="0"/>
              </a:spcBef>
              <a:buFont typeface="Arial"/>
              <a:buChar char="•"/>
              <a:defRPr sz="2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11885" indent="-241877" algn="l" defTabSz="967502">
              <a:spcBef>
                <a:spcPts val="0"/>
              </a:spcBef>
              <a:buFont typeface="Arial"/>
              <a:buChar char="•"/>
              <a:defRPr sz="2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>
              <a:defRPr/>
            </a:pPr>
            <a:r>
              <a:rPr lang="ru-RU" sz="4400" dirty="0" smtClean="0">
                <a:solidFill>
                  <a:schemeClr val="accent6"/>
                </a:solidFill>
              </a:rPr>
              <a:t>! </a:t>
            </a:r>
            <a:r>
              <a:rPr lang="ru-RU" sz="2000" dirty="0" smtClean="0">
                <a:solidFill>
                  <a:schemeClr val="accent6"/>
                </a:solidFill>
              </a:rPr>
              <a:t>Человек остается в контуре только для стратегии, творчества и работы с исключениями.</a:t>
            </a:r>
            <a:endParaRPr lang="ru-RU" sz="2000" dirty="0">
              <a:solidFill>
                <a:schemeClr val="accent6"/>
              </a:solidFill>
            </a:endParaRPr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/>
    </mc:Choice>
    <mc:Fallback xmlns:w="http://schemas.openxmlformats.org/wordprocessingml/2006/main" xmlns:m="http://schemas.openxmlformats.org/officeDocument/2006/math" xmlns="">
      <p:transition advClick="1"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430123">
              <a:defRPr/>
            </a:pPr>
            <a:fld id="{A7E88AC1-0904-3C47-875C-3F6E82802988}" type="slidenum">
              <a:rPr lang="ru-RU" smtClean="0"/>
              <a:t>8</a:t>
            </a:fld>
            <a:endParaRPr lang="ru-RU"/>
          </a:p>
        </p:txBody>
      </p:sp>
      <p:sp>
        <p:nvSpPr>
          <p:cNvPr id="5" name="Заголовок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КОМБИНАТ </a:t>
            </a:r>
            <a:r>
              <a:rPr lang="en-US" dirty="0" smtClean="0"/>
              <a:t>VS </a:t>
            </a:r>
            <a:r>
              <a:rPr lang="ru-RU" dirty="0" smtClean="0"/>
              <a:t>МИНИ-ЗАВОД: Ограничения для крупных возможности для малых?</a:t>
            </a:r>
            <a:endParaRPr lang="ru-RU" dirty="0"/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 rotWithShape="1">
          <a:blip r:embed="rId2"/>
          <a:srcRect l="10416" t="26741" r="13000" b="12667"/>
          <a:stretch/>
        </p:blipFill>
        <p:spPr>
          <a:xfrm>
            <a:off x="407639" y="1363854"/>
            <a:ext cx="11574843" cy="51513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311797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430123">
              <a:defRPr/>
            </a:pPr>
            <a:fld id="{A7E88AC1-0904-3C47-875C-3F6E82802988}" type="slidenum">
              <a:rPr lang="ru-RU" smtClean="0"/>
              <a:t>9</a:t>
            </a:fld>
            <a:endParaRPr lang="ru-RU"/>
          </a:p>
        </p:txBody>
      </p:sp>
      <p:sp>
        <p:nvSpPr>
          <p:cNvPr id="5" name="Заголовок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Эффективность мини-заводов + соотносимое </a:t>
            </a:r>
            <a:r>
              <a:rPr lang="ru-RU" dirty="0" err="1" smtClean="0"/>
              <a:t>качествО</a:t>
            </a:r>
            <a:r>
              <a:rPr lang="ru-RU" dirty="0" smtClean="0"/>
              <a:t> = прорыв</a:t>
            </a:r>
            <a:endParaRPr lang="ru-RU" dirty="0"/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 rotWithShape="1">
          <a:blip r:embed="rId2"/>
          <a:srcRect l="9750" t="21852" r="13500" b="17556"/>
          <a:stretch/>
        </p:blipFill>
        <p:spPr>
          <a:xfrm>
            <a:off x="541318" y="1308448"/>
            <a:ext cx="10545485" cy="4683065"/>
          </a:xfrm>
          <a:prstGeom prst="rect">
            <a:avLst/>
          </a:prstGeom>
        </p:spPr>
      </p:pic>
      <p:sp>
        <p:nvSpPr>
          <p:cNvPr id="7" name="Прямоугольник 6"/>
          <p:cNvSpPr/>
          <p:nvPr/>
        </p:nvSpPr>
        <p:spPr bwMode="auto">
          <a:xfrm>
            <a:off x="446903" y="6406242"/>
            <a:ext cx="11384879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err="1" smtClean="0">
                <a:solidFill>
                  <a:schemeClr val="tx2">
                    <a:lumMod val="50000"/>
                    <a:lumOff val="50000"/>
                  </a:schemeClr>
                </a:solidFill>
              </a:rPr>
              <a:t>Источник</a:t>
            </a:r>
            <a:r>
              <a:rPr lang="en-US" sz="1200" dirty="0" smtClean="0">
                <a:solidFill>
                  <a:schemeClr val="tx2">
                    <a:lumMod val="50000"/>
                    <a:lumOff val="50000"/>
                  </a:schemeClr>
                </a:solidFill>
              </a:rPr>
              <a:t>:</a:t>
            </a:r>
            <a:r>
              <a:rPr lang="ru-RU" sz="1200" dirty="0" smtClean="0">
                <a:solidFill>
                  <a:schemeClr val="tx2">
                    <a:lumMod val="50000"/>
                    <a:lumOff val="50000"/>
                  </a:schemeClr>
                </a:solidFill>
              </a:rPr>
              <a:t> Американский институт железа и стали</a:t>
            </a:r>
            <a:endParaRPr lang="ru-RU" sz="1200" dirty="0">
              <a:solidFill>
                <a:schemeClr val="tx2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880970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Все макеты">
  <a:themeElements>
    <a:clrScheme name="Custom 70">
      <a:dk1>
        <a:srgbClr val="000000"/>
      </a:dk1>
      <a:lt1>
        <a:srgbClr val="FFFFFF"/>
      </a:lt1>
      <a:dk2>
        <a:srgbClr val="000000"/>
      </a:dk2>
      <a:lt2>
        <a:srgbClr val="F8F8F8"/>
      </a:lt2>
      <a:accent1>
        <a:srgbClr val="F77BF7"/>
      </a:accent1>
      <a:accent2>
        <a:srgbClr val="04CFFF"/>
      </a:accent2>
      <a:accent3>
        <a:srgbClr val="CEFFA6"/>
      </a:accent3>
      <a:accent4>
        <a:srgbClr val="9557E5"/>
      </a:accent4>
      <a:accent5>
        <a:srgbClr val="007EE8"/>
      </a:accent5>
      <a:accent6>
        <a:srgbClr val="FF0032"/>
      </a:accent6>
      <a:hlink>
        <a:srgbClr val="FF0032"/>
      </a:hlink>
      <a:folHlink>
        <a:srgbClr val="A9A9A9"/>
      </a:folHlink>
    </a:clrScheme>
    <a:fontScheme name="MTS Wide">
      <a:majorFont>
        <a:latin typeface="MTS Wide Medium"/>
        <a:ea typeface="Arial"/>
        <a:cs typeface="Arial"/>
      </a:majorFont>
      <a:minorFont>
        <a:latin typeface="MTS Text Regular"/>
        <a:ea typeface="Arial"/>
        <a:cs typeface="Arial"/>
      </a:minorFont>
    </a:fontScheme>
    <a:fmtScheme name="Office">
      <a:fillStyleLst>
        <a:solidFill>
          <a:schemeClr val="phClr"/>
        </a:solidFill>
        <a:gradFill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</a:effectStyleLst>
      <a:bgFillStyleLst>
        <a:solidFill>
          <a:schemeClr val="phClr"/>
        </a:solidFill>
        <a:gradFill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/>
        </a:gradFill>
        <a:gradFill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/>
        </a:gradFill>
      </a:bgFillStyleLst>
    </a:fmtScheme>
  </a:themeElements>
  <a:objectDefaults>
    <a:spDef>
      <a:spPr bwMode="auto">
        <a:prstGeom prst="rect">
          <a:avLst/>
        </a:prstGeom>
        <a:solidFill>
          <a:schemeClr val="bg1">
            <a:lumMod val="50000"/>
          </a:schemeClr>
        </a:solidFill>
        <a:ln>
          <a:noFill/>
        </a:ln>
      </a:spPr>
      <a:bodyPr/>
      <a:lstStyle/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auto">
        <a:prstGeom prst="rect">
          <a:avLst/>
        </a:prstGeom>
        <a:ln>
          <a:solidFill>
            <a:schemeClr val="tx1">
              <a:lumMod val="90000"/>
              <a:lumOff val="10000"/>
              <a:alpha val="25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auto">
        <a:prstGeom prst="rect">
          <a:avLst/>
        </a:prstGeom>
        <a:noFill/>
      </a:spPr>
      <a:bodyPr/>
      <a:lstStyle/>
    </a:txDef>
  </a:objectDefaults>
  <a:extraClrSchemeLst/>
</a:theme>
</file>

<file path=ppt/theme/theme2.xml><?xml version="1.0" encoding="utf-8"?>
<a:theme xmlns:a="http://schemas.openxmlformats.org/drawingml/2006/main" name="mts-v2-tmp">
  <a:themeElements>
    <a:clrScheme name="mts-v1">
      <a:dk1>
        <a:srgbClr val="1D2023"/>
      </a:dk1>
      <a:lt1>
        <a:srgbClr val="FFFFFF"/>
      </a:lt1>
      <a:dk2>
        <a:srgbClr val="1D2023"/>
      </a:dk2>
      <a:lt2>
        <a:srgbClr val="F2F3F7"/>
      </a:lt2>
      <a:accent1>
        <a:srgbClr val="FF0032"/>
      </a:accent1>
      <a:accent2>
        <a:srgbClr val="E983F3"/>
      </a:accent2>
      <a:accent3>
        <a:srgbClr val="5FCEFA"/>
      </a:accent3>
      <a:accent4>
        <a:srgbClr val="D8FEAF"/>
      </a:accent4>
      <a:accent5>
        <a:srgbClr val="8E5BDD"/>
      </a:accent5>
      <a:accent6>
        <a:srgbClr val="807FF7"/>
      </a:accent6>
      <a:hlink>
        <a:srgbClr val="FF0032"/>
      </a:hlink>
      <a:folHlink>
        <a:srgbClr val="FF0032"/>
      </a:folHlink>
    </a:clrScheme>
    <a:fontScheme name="mts-v1">
      <a:majorFont>
        <a:latin typeface="MTS Extended Medium"/>
        <a:ea typeface=""/>
        <a:cs typeface=""/>
      </a:majorFont>
      <a:minorFont>
        <a:latin typeface="MTS Text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noFill/>
        <a:ln w="9525">
          <a:solidFill>
            <a:schemeClr val="tx1"/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 algn="l">
          <a:spcAft>
            <a:spcPts val="500"/>
          </a:spcAft>
          <a:defRPr sz="9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mts-v2-tmp" id="{4307A9B2-E8B0-419D-820B-F16CFEE7ADF0}" vid="{C10499CE-BDA4-48C2-8117-7A0F3FC9577C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Титульные слайды и разделы">
  <a:themeElements>
    <a:clrScheme name="Custom 70">
      <a:dk1>
        <a:srgbClr val="000000"/>
      </a:dk1>
      <a:lt1>
        <a:srgbClr val="FFFFFF"/>
      </a:lt1>
      <a:dk2>
        <a:srgbClr val="000000"/>
      </a:dk2>
      <a:lt2>
        <a:srgbClr val="F8F8F8"/>
      </a:lt2>
      <a:accent1>
        <a:srgbClr val="F77BF7"/>
      </a:accent1>
      <a:accent2>
        <a:srgbClr val="04CFFF"/>
      </a:accent2>
      <a:accent3>
        <a:srgbClr val="CEFFA6"/>
      </a:accent3>
      <a:accent4>
        <a:srgbClr val="9557E5"/>
      </a:accent4>
      <a:accent5>
        <a:srgbClr val="007EE8"/>
      </a:accent5>
      <a:accent6>
        <a:srgbClr val="FF0032"/>
      </a:accent6>
      <a:hlink>
        <a:srgbClr val="FF0032"/>
      </a:hlink>
      <a:folHlink>
        <a:srgbClr val="A9A9A9"/>
      </a:folHlink>
    </a:clrScheme>
    <a:fontScheme name="">
      <a:majorFont>
        <a:latin typeface="MTS Wide Medium"/>
        <a:ea typeface="Arial"/>
        <a:cs typeface="Arial"/>
      </a:majorFont>
      <a:minorFont>
        <a:latin typeface="MTS Text Regular"/>
        <a:ea typeface="Arial"/>
        <a:cs typeface="Arial"/>
      </a:minorFont>
    </a:fontScheme>
    <a:fmtScheme name="Office">
      <a:fillStyleLst>
        <a:solidFill>
          <a:schemeClr val="phClr"/>
        </a:solidFill>
        <a:gradFill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</a:effectStyleLst>
      <a:bgFillStyleLst>
        <a:solidFill>
          <a:schemeClr val="phClr"/>
        </a:solidFill>
        <a:gradFill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/>
        </a:gradFill>
        <a:gradFill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/>
        </a:gradFill>
      </a:bgFillStyleLst>
    </a:fmtScheme>
  </a:themeElements>
  <a:objectDefaults>
    <a:spDef>
      <a:spPr bwMode="auto">
        <a:prstGeom prst="rect">
          <a:avLst/>
        </a:prstGeom>
        <a:solidFill>
          <a:schemeClr val="bg1">
            <a:lumMod val="50000"/>
          </a:schemeClr>
        </a:solidFill>
        <a:ln>
          <a:noFill/>
        </a:ln>
      </a:spPr>
      <a:bodyPr/>
      <a:lstStyle/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auto">
        <a:prstGeom prst="rect">
          <a:avLst/>
        </a:prstGeom>
        <a:ln>
          <a:solidFill>
            <a:schemeClr val="tx1">
              <a:lumMod val="90000"/>
              <a:lumOff val="10000"/>
              <a:alpha val="25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auto">
        <a:prstGeom prst="rect">
          <a:avLst/>
        </a:prstGeom>
        <a:noFill/>
      </a:spPr>
      <a:bodyPr/>
      <a:lstStyle/>
    </a:tx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Default Theme</Template>
  <TotalTime>146</TotalTime>
  <Words>1069</Words>
  <Application>Microsoft Office PowerPoint</Application>
  <PresentationFormat>Широкоэкранный</PresentationFormat>
  <Paragraphs>182</Paragraphs>
  <Slides>15</Slides>
  <Notes>12</Notes>
  <HiddenSlides>0</HiddenSlides>
  <MMClips>1</MMClips>
  <ScaleCrop>false</ScaleCrop>
  <HeadingPairs>
    <vt:vector size="8" baseType="variant">
      <vt:variant>
        <vt:lpstr>Использованные шрифты</vt:lpstr>
      </vt:variant>
      <vt:variant>
        <vt:i4>11</vt:i4>
      </vt:variant>
      <vt:variant>
        <vt:lpstr>Тема</vt:lpstr>
      </vt:variant>
      <vt:variant>
        <vt:i4>3</vt:i4>
      </vt:variant>
      <vt:variant>
        <vt:lpstr>Внедренные серверы OLE</vt:lpstr>
      </vt:variant>
      <vt:variant>
        <vt:i4>2</vt:i4>
      </vt:variant>
      <vt:variant>
        <vt:lpstr>Заголовки слайдов</vt:lpstr>
      </vt:variant>
      <vt:variant>
        <vt:i4>15</vt:i4>
      </vt:variant>
    </vt:vector>
  </HeadingPairs>
  <TitlesOfParts>
    <vt:vector size="31" baseType="lpstr">
      <vt:lpstr>Arial</vt:lpstr>
      <vt:lpstr>Arial Black</vt:lpstr>
      <vt:lpstr>Calibri</vt:lpstr>
      <vt:lpstr>MTS Extended</vt:lpstr>
      <vt:lpstr>MTS Extended Medium</vt:lpstr>
      <vt:lpstr>MTS Text</vt:lpstr>
      <vt:lpstr>MTS Text Medium</vt:lpstr>
      <vt:lpstr>MTS Text Regular</vt:lpstr>
      <vt:lpstr>MTS Wide</vt:lpstr>
      <vt:lpstr>MTS Wide Medium</vt:lpstr>
      <vt:lpstr>Wingdings</vt:lpstr>
      <vt:lpstr>Все макеты</vt:lpstr>
      <vt:lpstr>mts-v2-tmp</vt:lpstr>
      <vt:lpstr>Office Theme</vt:lpstr>
      <vt:lpstr>think-cell Slide</vt:lpstr>
      <vt:lpstr>Слайд think-cell</vt:lpstr>
      <vt:lpstr>Есть ли предел эффективности производства?</vt:lpstr>
      <vt:lpstr>Презентация PowerPoint</vt:lpstr>
      <vt:lpstr>Toyota 1950-1980— революция без AI, Robotics, НОВЫХ технологий связи</vt:lpstr>
      <vt:lpstr>НО ТЕПЕРЬ TOYOTA — один из крупнейших инвесторов в AI и робототехнику</vt:lpstr>
      <vt:lpstr>рост эффективности замедляется тем быстрее, чем ты ближе к пределу – 80% уже ок</vt:lpstr>
      <vt:lpstr>Почему 100% недостижимы сегодня: Фундаментальные ограничения</vt:lpstr>
      <vt:lpstr>Замкнутый цикл: передал — решил — исполнил, А Наша задача – стратегия </vt:lpstr>
      <vt:lpstr>КОМБИНАТ VS МИНИ-ЗАВОД: Ограничения для крупных возможности для малых?</vt:lpstr>
      <vt:lpstr>Эффективность мини-заводов + соотносимое качествО = прорыв</vt:lpstr>
      <vt:lpstr>Не улучшение — новая кривая роста</vt:lpstr>
      <vt:lpstr>дядя коля VS Гуманоид vs промробот</vt:lpstr>
      <vt:lpstr>Презентация PowerPoint</vt:lpstr>
      <vt:lpstr>КИТАЙ – единственная страна, где связка 5G/AI/Robotics в масштабе целых отраслей</vt:lpstr>
      <vt:lpstr>ЧЕСТНАЯ РЕКОМЕНДАЦИЯ: Что делать если нет ресурсов и доступа к технологиям</vt:lpstr>
      <vt:lpstr>Презентация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icrosoft Office User</dc:creator>
  <cp:lastModifiedBy>Федосов Павел</cp:lastModifiedBy>
  <cp:revision>677</cp:revision>
  <dcterms:created xsi:type="dcterms:W3CDTF">2017-08-04T16:03:42Z</dcterms:created>
  <dcterms:modified xsi:type="dcterms:W3CDTF">2026-04-05T12:09:54Z</dcterms:modified>
</cp:coreProperties>
</file>